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1" r:id="rId4"/>
  </p:sldMasterIdLst>
  <p:notesMasterIdLst>
    <p:notesMasterId r:id="rId13"/>
  </p:notesMasterIdLst>
  <p:handoutMasterIdLst>
    <p:handoutMasterId r:id="rId14"/>
  </p:handoutMasterIdLst>
  <p:sldIdLst>
    <p:sldId id="350" r:id="rId5"/>
    <p:sldId id="388" r:id="rId6"/>
    <p:sldId id="391" r:id="rId7"/>
    <p:sldId id="469" r:id="rId8"/>
    <p:sldId id="392" r:id="rId9"/>
    <p:sldId id="394" r:id="rId10"/>
    <p:sldId id="395" r:id="rId11"/>
    <p:sldId id="389" r:id="rId12"/>
  </p:sldIdLst>
  <p:sldSz cx="12192000" cy="6858000"/>
  <p:notesSz cx="7010400" cy="92964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1931C"/>
    <a:srgbClr val="BC1F00"/>
    <a:srgbClr val="FFFFFF"/>
    <a:srgbClr val="666666"/>
    <a:srgbClr val="404040"/>
    <a:srgbClr val="888888"/>
    <a:srgbClr val="F2F2F2"/>
    <a:srgbClr val="E7E6E6"/>
    <a:srgbClr val="9191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E83A33-7C2B-49F4-A23F-CF7FF3114A1B}" v="1" dt="2024-04-10T17:23:38.7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5" autoAdjust="0"/>
    <p:restoredTop sz="94660"/>
  </p:normalViewPr>
  <p:slideViewPr>
    <p:cSldViewPr snapToGrid="0" showGuides="1">
      <p:cViewPr varScale="1">
        <p:scale>
          <a:sx n="63" d="100"/>
          <a:sy n="63" d="100"/>
        </p:scale>
        <p:origin x="94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4328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non, Armando" userId="6a0b71e9-4528-4f32-90fd-025069032459" providerId="ADAL" clId="{9EE83A33-7C2B-49F4-A23F-CF7FF3114A1B}"/>
    <pc:docChg chg="addSld delSld modSld">
      <pc:chgData name="Banon, Armando" userId="6a0b71e9-4528-4f32-90fd-025069032459" providerId="ADAL" clId="{9EE83A33-7C2B-49F4-A23F-CF7FF3114A1B}" dt="2024-04-10T17:23:47.840" v="40" actId="47"/>
      <pc:docMkLst>
        <pc:docMk/>
      </pc:docMkLst>
      <pc:sldChg chg="modSp mod">
        <pc:chgData name="Banon, Armando" userId="6a0b71e9-4528-4f32-90fd-025069032459" providerId="ADAL" clId="{9EE83A33-7C2B-49F4-A23F-CF7FF3114A1B}" dt="2024-04-10T17:20:32.404" v="35" actId="6549"/>
        <pc:sldMkLst>
          <pc:docMk/>
          <pc:sldMk cId="356190246" sldId="350"/>
        </pc:sldMkLst>
        <pc:spChg chg="mod">
          <ac:chgData name="Banon, Armando" userId="6a0b71e9-4528-4f32-90fd-025069032459" providerId="ADAL" clId="{9EE83A33-7C2B-49F4-A23F-CF7FF3114A1B}" dt="2024-04-10T17:20:32.404" v="35" actId="6549"/>
          <ac:spMkLst>
            <pc:docMk/>
            <pc:sldMk cId="356190246" sldId="350"/>
            <ac:spMk id="3" creationId="{D9AE3446-FC64-4F15-AFB7-8D6A58648E66}"/>
          </ac:spMkLst>
        </pc:spChg>
      </pc:sldChg>
      <pc:sldChg chg="del">
        <pc:chgData name="Banon, Armando" userId="6a0b71e9-4528-4f32-90fd-025069032459" providerId="ADAL" clId="{9EE83A33-7C2B-49F4-A23F-CF7FF3114A1B}" dt="2024-04-10T17:20:47.450" v="36" actId="47"/>
        <pc:sldMkLst>
          <pc:docMk/>
          <pc:sldMk cId="4128278286" sldId="381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954610455" sldId="382"/>
        </pc:sldMkLst>
      </pc:sldChg>
      <pc:sldChg chg="del">
        <pc:chgData name="Banon, Armando" userId="6a0b71e9-4528-4f32-90fd-025069032459" providerId="ADAL" clId="{9EE83A33-7C2B-49F4-A23F-CF7FF3114A1B}" dt="2024-04-10T17:20:47.450" v="36" actId="47"/>
        <pc:sldMkLst>
          <pc:docMk/>
          <pc:sldMk cId="2909438659" sldId="385"/>
        </pc:sldMkLst>
      </pc:sldChg>
      <pc:sldChg chg="add del">
        <pc:chgData name="Banon, Armando" userId="6a0b71e9-4528-4f32-90fd-025069032459" providerId="ADAL" clId="{9EE83A33-7C2B-49F4-A23F-CF7FF3114A1B}" dt="2024-04-10T17:23:38.743" v="39"/>
        <pc:sldMkLst>
          <pc:docMk/>
          <pc:sldMk cId="1223142336" sldId="389"/>
        </pc:sldMkLst>
      </pc:sldChg>
      <pc:sldChg chg="del">
        <pc:chgData name="Banon, Armando" userId="6a0b71e9-4528-4f32-90fd-025069032459" providerId="ADAL" clId="{9EE83A33-7C2B-49F4-A23F-CF7FF3114A1B}" dt="2024-04-10T17:20:47.450" v="36" actId="47"/>
        <pc:sldMkLst>
          <pc:docMk/>
          <pc:sldMk cId="3053144448" sldId="390"/>
        </pc:sldMkLst>
      </pc:sldChg>
      <pc:sldChg chg="del">
        <pc:chgData name="Banon, Armando" userId="6a0b71e9-4528-4f32-90fd-025069032459" providerId="ADAL" clId="{9EE83A33-7C2B-49F4-A23F-CF7FF3114A1B}" dt="2024-04-10T17:20:47.450" v="36" actId="47"/>
        <pc:sldMkLst>
          <pc:docMk/>
          <pc:sldMk cId="1695351234" sldId="393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1477459327" sldId="396"/>
        </pc:sldMkLst>
      </pc:sldChg>
      <pc:sldChg chg="del">
        <pc:chgData name="Banon, Armando" userId="6a0b71e9-4528-4f32-90fd-025069032459" providerId="ADAL" clId="{9EE83A33-7C2B-49F4-A23F-CF7FF3114A1B}" dt="2024-04-10T17:20:47.450" v="36" actId="47"/>
        <pc:sldMkLst>
          <pc:docMk/>
          <pc:sldMk cId="2955550169" sldId="397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3878789722" sldId="398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1225212619" sldId="399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63292863" sldId="450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1132140700" sldId="451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981663240" sldId="452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3012730562" sldId="453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666544888" sldId="454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061799171" sldId="455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3837483498" sldId="456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3437964892" sldId="457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1115753423" sldId="458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333191483" sldId="459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638738615" sldId="460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275480329" sldId="461"/>
        </pc:sldMkLst>
      </pc:sldChg>
      <pc:sldChg chg="new del">
        <pc:chgData name="Banon, Armando" userId="6a0b71e9-4528-4f32-90fd-025069032459" providerId="ADAL" clId="{9EE83A33-7C2B-49F4-A23F-CF7FF3114A1B}" dt="2024-04-10T17:23:47.840" v="40" actId="47"/>
        <pc:sldMkLst>
          <pc:docMk/>
          <pc:sldMk cId="2237663773" sldId="470"/>
        </pc:sldMkLst>
      </pc:sldChg>
      <pc:sldChg chg="del">
        <pc:chgData name="Banon, Armando" userId="6a0b71e9-4528-4f32-90fd-025069032459" providerId="ADAL" clId="{9EE83A33-7C2B-49F4-A23F-CF7FF3114A1B}" dt="2024-04-10T17:20:47.450" v="36" actId="47"/>
        <pc:sldMkLst>
          <pc:docMk/>
          <pc:sldMk cId="4164379491" sldId="471"/>
        </pc:sldMkLst>
      </pc:sldChg>
      <pc:sldChg chg="del">
        <pc:chgData name="Banon, Armando" userId="6a0b71e9-4528-4f32-90fd-025069032459" providerId="ADAL" clId="{9EE83A33-7C2B-49F4-A23F-CF7FF3114A1B}" dt="2024-04-10T17:21:38.672" v="37" actId="47"/>
        <pc:sldMkLst>
          <pc:docMk/>
          <pc:sldMk cId="2702531753" sldId="47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5057F54-A723-2047-BF3A-205C937B39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0AEC3B1-FD1F-0348-87C8-95A3E99483D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BBDCE41-08F8-8646-94A3-B70E403FA156}" type="datetimeFigureOut">
              <a:rPr lang="en-US" smtClean="0"/>
              <a:t>4/10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7F6CD2-0674-A045-A63B-82040EE7D0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DF4126-6DAA-4E47-ACF5-DFD325D607C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72D70AD-2E4B-CE41-BBDC-3EF7005436C6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483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F9AB761-8CEB-478F-A91B-E0F6FC4C387B}" type="datetimeFigureOut">
              <a:rPr lang="en-US" smtClean="0"/>
              <a:t>4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4D08AE3-7EFC-4A01-B213-ADA2E1E4570A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253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3E10CF9-2632-4B18-979E-C09C95117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22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3E10CF9-2632-4B18-979E-C09C95117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0C57DCC-4D82-4C64-9179-9B09158439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D85FE49A-437C-3640-8C56-0B8BCAB424CD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6800" y="0"/>
            <a:ext cx="7315200" cy="68580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A020960-0F7F-CA47-A0C7-37251CFE35E3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89F603-DA87-684D-82E8-2B052696B700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50292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B47FED0-6275-674C-9D0A-FFA596EDC7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4114800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Presentation Title in Arial Bold 34pt, Title Case.</a:t>
            </a: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274179FA-6E76-FE47-BD77-21B33CD263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4114800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 / Author Na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EBF5067-8CAB-4242-902A-3E072F63080B}"/>
              </a:ext>
            </a:extLst>
          </p:cNvPr>
          <p:cNvSpPr txBox="1"/>
          <p:nvPr userDrawn="1"/>
        </p:nvSpPr>
        <p:spPr>
          <a:xfrm>
            <a:off x="2312683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444A19-51AB-D044-9770-0E762762A14E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4114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3" name="Straight Connector 19">
            <a:extLst>
              <a:ext uri="{FF2B5EF4-FFF2-40B4-BE49-F238E27FC236}">
                <a16:creationId xmlns:a16="http://schemas.microsoft.com/office/drawing/2014/main" id="{28ACA225-A4A6-4F4C-979C-C83A3F30C82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9137"/>
            <a:ext cx="4114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8">
            <a:extLst>
              <a:ext uri="{FF2B5EF4-FFF2-40B4-BE49-F238E27FC236}">
                <a16:creationId xmlns:a16="http://schemas.microsoft.com/office/drawing/2014/main" id="{2AC15692-4218-43B5-A4E6-093ACFDF5E8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798113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66532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w Section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55165C9E-9C8E-4F4C-BA82-A164AD12BC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0" y="0"/>
            <a:ext cx="12179300" cy="6858000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1CA6EE73-9FC6-DE49-8209-6CCAFEA51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14EF4CE-A0C8-CC48-923A-77667A275259}"/>
              </a:ext>
            </a:extLst>
          </p:cNvPr>
          <p:cNvSpPr>
            <a:spLocks/>
          </p:cNvSpPr>
          <p:nvPr userDrawn="1"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8C3F5C-5D5D-DE4F-AC94-3F6E1AB9A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ew Section Slide: Click to Add Title in Arial Bold 28pt, Title Case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AF123CA-0EA9-5743-93C1-B6318DFE6C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67230B-4171-E74B-A57D-B7C16350C1AF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9" name="Straight Connector 19">
            <a:extLst>
              <a:ext uri="{FF2B5EF4-FFF2-40B4-BE49-F238E27FC236}">
                <a16:creationId xmlns:a16="http://schemas.microsoft.com/office/drawing/2014/main" id="{3BEE0574-D12C-9141-8DBE-3DB9C2781112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7194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7123BD-0247-40ED-BDC9-81853072A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727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7123BD-0247-40ED-BDC9-81853072A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BBA90-9010-401E-B769-B70F1C6288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AF696E4D-4639-6D4F-9554-69F1535083D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See following slide for example.</a:t>
            </a: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CABDAE19-E5C9-CE47-88B9-5CB7B65E4641}"/>
              </a:ext>
            </a:extLst>
          </p:cNvPr>
          <p:cNvSpPr>
            <a:spLocks/>
          </p:cNvSpPr>
          <p:nvPr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2D7FBC13-5C17-7948-B92A-2C2C94E7EF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 hidden="1">
            <a:extLst>
              <a:ext uri="{FF2B5EF4-FFF2-40B4-BE49-F238E27FC236}">
                <a16:creationId xmlns:a16="http://schemas.microsoft.com/office/drawing/2014/main" id="{91D24796-6D82-A348-86DB-E431364E63F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CC6B37F-2E66-2C4B-A7D8-DF73C27ABA3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arge Image Divider Slide  #1: Click to Add Title in Arial Bold 28pt, Title Case.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42DD9E09-9B8D-5D4E-A6C8-642EDD657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2AE235F-D7E0-C143-A6DE-44E056B422C3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6" name="Straight Connector 19">
            <a:extLst>
              <a:ext uri="{FF2B5EF4-FFF2-40B4-BE49-F238E27FC236}">
                <a16:creationId xmlns:a16="http://schemas.microsoft.com/office/drawing/2014/main" id="{8E5BE326-B54D-4380-9C46-A95F6661F44E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9557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CC2E81-896B-4C39-B392-894EB46E2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972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CC2E81-896B-4C39-B392-894EB46E2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219F75-3BEC-4953-A49B-B6584DA0DD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</a:t>
            </a: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/>
          </p:cNvSpPr>
          <p:nvPr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29F16A36-F23D-2740-B562-6453996A1B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 hidden="1">
            <a:extLst>
              <a:ext uri="{FF2B5EF4-FFF2-40B4-BE49-F238E27FC236}">
                <a16:creationId xmlns:a16="http://schemas.microsoft.com/office/drawing/2014/main" id="{74652A13-CC20-2A4C-BA5E-2177429357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915BF0C0-4F3C-6D40-BC0D-00FCD5A899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arge Image Divider Slide  #2: Click to Add Title in Arial Bold 28pt,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BF2873C-4976-504C-8ED7-51FC7AF2F92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C09C3B5-B798-494A-B5EB-0C8A84F96040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22" name="Straight Connector 19">
            <a:extLst>
              <a:ext uri="{FF2B5EF4-FFF2-40B4-BE49-F238E27FC236}">
                <a16:creationId xmlns:a16="http://schemas.microsoft.com/office/drawing/2014/main" id="{7E0F14AF-6046-44D8-98AB-92070F89E9B1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53107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6A18B4-3539-451F-B48E-46D0394BD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47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6A18B4-3539-451F-B48E-46D0394BD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BE2443F-A1D4-4E93-929A-D33E107E40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01A74A1-591D-334D-A931-1E526E022369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76800" y="0"/>
            <a:ext cx="73152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 area, size: 8” x 7.5”.</a:t>
            </a:r>
            <a:br>
              <a:rPr lang="en-US" dirty="0"/>
            </a:br>
            <a:r>
              <a:rPr lang="en-US" dirty="0"/>
              <a:t>  </a:t>
            </a: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1A0D7202-3699-BA46-B78B-2F371C11B195}"/>
              </a:ext>
            </a:extLst>
          </p:cNvPr>
          <p:cNvSpPr>
            <a:spLocks/>
          </p:cNvSpPr>
          <p:nvPr/>
        </p:nvSpPr>
        <p:spPr>
          <a:xfrm>
            <a:off x="1" y="0"/>
            <a:ext cx="4882896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ED35CAC2-4F4A-0043-A91B-CA8CF794D6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 hidden="1">
            <a:extLst>
              <a:ext uri="{FF2B5EF4-FFF2-40B4-BE49-F238E27FC236}">
                <a16:creationId xmlns:a16="http://schemas.microsoft.com/office/drawing/2014/main" id="{39322BB9-C3BE-CC4C-A9A1-454115C9737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3B9F813C-F4A4-B646-B82B-2183A0B0FD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39684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Large Image Divider Slide  #3: Click to Add Title in Arial Bold 28pt, Title Case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D9280E1-BCDF-EF41-A77F-4841A62887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39684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EED9208-EA40-5E43-92B6-708C35BF7B9C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39684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21" name="Straight Connector 19">
            <a:extLst>
              <a:ext uri="{FF2B5EF4-FFF2-40B4-BE49-F238E27FC236}">
                <a16:creationId xmlns:a16="http://schemas.microsoft.com/office/drawing/2014/main" id="{F4424F14-22BE-4521-A776-EBCC26EC7037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39684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9373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2FC688-3FC1-44E3-8A32-62A853DAA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221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2FC688-3FC1-44E3-8A32-62A853DAA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93D43A-4B9B-4492-AFDC-1489A5490E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97496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FAD1B113-1E5E-D649-9D2E-C95A944E90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686D09D7-6FDA-FB41-9E21-2156497A010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B24BC96E-8D99-7A41-BDA8-35D954E798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64830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mall Image Divider Slide  #1: Click to Add Title in Arial Bold 28pt, Title Case.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79A70A78-1986-7349-B842-32B105E1A7B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64830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D5E88B9-0984-AE4A-82F6-9F6499851E19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6483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9" name="Straight Connector 31">
            <a:extLst>
              <a:ext uri="{FF2B5EF4-FFF2-40B4-BE49-F238E27FC236}">
                <a16:creationId xmlns:a16="http://schemas.microsoft.com/office/drawing/2014/main" id="{9BBB2AC3-5CEC-4CA9-9EEF-A01C06393D84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6483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652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7A1D6B-FD66-4576-979F-943D03ED10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8272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7A1D6B-FD66-4576-979F-943D03ED1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99F9F8-7E2A-4530-B396-0357C062EC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97496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7521CBF5-30FE-5447-832B-0CF68889FF0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49BC072F-0E7A-2F47-B50E-1D3EA0C4E87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B0BB7C5E-639F-EC4F-BB28-E42B6F5424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64830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mall Image Divider Slide  #2: Click to Add Title in Arial Bold 28pt, Title Case.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845C8362-06C9-684F-A75E-2393C7F851B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64830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A81772F-1ECF-5145-9E6A-A7091D64EBE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6483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A6E8152-E037-9046-AED2-8B6080C4A91B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6483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30763042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5E66F8-D69A-4888-82BA-B283942028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35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5E66F8-D69A-4888-82BA-B28394202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0703ED7-E6EF-44DE-9076-73ABE463A4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 hidden="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B116333B-72FF-5B44-BCC7-39E55F6ADE3B}"/>
              </a:ext>
            </a:extLst>
          </p:cNvPr>
          <p:cNvSpPr>
            <a:spLocks/>
          </p:cNvSpPr>
          <p:nvPr/>
        </p:nvSpPr>
        <p:spPr>
          <a:xfrm>
            <a:off x="0" y="0"/>
            <a:ext cx="7397496" cy="685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9EB3A2E9-EDFD-254D-A130-C4C3FA90E343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7391400" y="0"/>
            <a:ext cx="4800600" cy="6858000"/>
          </a:xfrm>
          <a:prstGeom prst="rect">
            <a:avLst/>
          </a:prstGeom>
          <a:noFill/>
        </p:spPr>
        <p:txBody>
          <a:bodyPr anchor="t"/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 Click icon to add picture to fill and fit entire white</a:t>
            </a:r>
            <a:br>
              <a:rPr lang="en-US" dirty="0"/>
            </a:br>
            <a:r>
              <a:rPr lang="en-US" dirty="0"/>
              <a:t>   area, size: 5.25” x 7.5”. </a:t>
            </a:r>
          </a:p>
        </p:txBody>
      </p:sp>
      <p:pic>
        <p:nvPicPr>
          <p:cNvPr id="15" name="Picture 14" hidden="1">
            <a:extLst>
              <a:ext uri="{FF2B5EF4-FFF2-40B4-BE49-F238E27FC236}">
                <a16:creationId xmlns:a16="http://schemas.microsoft.com/office/drawing/2014/main" id="{AC9118CC-8D2D-1445-979E-25F9C3C073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B6739C8A-E815-9743-8F11-28DEFEE6AFD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7B649D84-6A21-464C-8858-F59B56A9AD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6483096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28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mall Image Divider Slide  #3: Click to Add Title in Arial Bold 28pt, Title Case.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F5F97BEC-9D4A-A244-AE95-A506058448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6483096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960ECCD-7CE4-2A4B-B02F-1D5B429137D0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648309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19" name="Straight Connector 31">
            <a:extLst>
              <a:ext uri="{FF2B5EF4-FFF2-40B4-BE49-F238E27FC236}">
                <a16:creationId xmlns:a16="http://schemas.microsoft.com/office/drawing/2014/main" id="{617034EF-BFFC-47F2-8AE4-F5833DA3F0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8202"/>
            <a:ext cx="648309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4086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Screenshot, Schrift, Website enthält.&#10;&#10;Automatisch generierte Beschreibung">
            <a:extLst>
              <a:ext uri="{FF2B5EF4-FFF2-40B4-BE49-F238E27FC236}">
                <a16:creationId xmlns:a16="http://schemas.microsoft.com/office/drawing/2014/main" id="{5AE4B3F5-0B2A-FBE1-A0B7-2EA11081CC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29">
            <a:extLst>
              <a:ext uri="{FF2B5EF4-FFF2-40B4-BE49-F238E27FC236}">
                <a16:creationId xmlns:a16="http://schemas.microsoft.com/office/drawing/2014/main" id="{1B7CCF70-0F8B-86B8-99ED-1462BFBC6009}"/>
              </a:ext>
            </a:extLst>
          </p:cNvPr>
          <p:cNvSpPr txBox="1"/>
          <p:nvPr userDrawn="1"/>
        </p:nvSpPr>
        <p:spPr>
          <a:xfrm>
            <a:off x="371806" y="6580105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4 TE Connectivity.</a:t>
            </a:r>
            <a:r>
              <a:rPr lang="en-US" sz="800" b="0" baseline="0" dirty="0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 b="0" baseline="0" dirty="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 b="0" baseline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6" name="Straight Connector 30">
            <a:extLst>
              <a:ext uri="{FF2B5EF4-FFF2-40B4-BE49-F238E27FC236}">
                <a16:creationId xmlns:a16="http://schemas.microsoft.com/office/drawing/2014/main" id="{95B4FF01-A63C-EF0E-5A76-88B44504944B}"/>
              </a:ext>
            </a:extLst>
          </p:cNvPr>
          <p:cNvCxnSpPr>
            <a:cxnSpLocks/>
          </p:cNvCxnSpPr>
          <p:nvPr userDrawn="1"/>
        </p:nvCxnSpPr>
        <p:spPr>
          <a:xfrm>
            <a:off x="0" y="6833964"/>
            <a:ext cx="1219200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6308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5AE4B3F5-0B2A-FBE1-A0B7-2EA11081CC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29">
            <a:extLst>
              <a:ext uri="{FF2B5EF4-FFF2-40B4-BE49-F238E27FC236}">
                <a16:creationId xmlns:a16="http://schemas.microsoft.com/office/drawing/2014/main" id="{2E6A31BF-00B4-62A2-D4DD-354A53C85DA5}"/>
              </a:ext>
            </a:extLst>
          </p:cNvPr>
          <p:cNvSpPr txBox="1"/>
          <p:nvPr userDrawn="1"/>
        </p:nvSpPr>
        <p:spPr>
          <a:xfrm>
            <a:off x="371806" y="6580105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4 TE Connectivity.</a:t>
            </a:r>
            <a:r>
              <a:rPr lang="en-US" sz="800" b="0" baseline="0" dirty="0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 b="0" baseline="0" dirty="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 b="0" baseline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4" name="Straight Connector 30">
            <a:extLst>
              <a:ext uri="{FF2B5EF4-FFF2-40B4-BE49-F238E27FC236}">
                <a16:creationId xmlns:a16="http://schemas.microsoft.com/office/drawing/2014/main" id="{3BC7A931-7CE5-61FF-2F21-E3EFD03FEBF2}"/>
              </a:ext>
            </a:extLst>
          </p:cNvPr>
          <p:cNvCxnSpPr>
            <a:cxnSpLocks/>
          </p:cNvCxnSpPr>
          <p:nvPr userDrawn="1"/>
        </p:nvCxnSpPr>
        <p:spPr>
          <a:xfrm>
            <a:off x="0" y="6833964"/>
            <a:ext cx="1219200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541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98A533-7CC6-43A4-92B4-F46130AC9F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6792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98A533-7CC6-43A4-92B4-F46130AC9F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EED084F-0E91-4CB6-B553-23C6CAED09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 descr="A picture containing sink, kitchen, counter, table&#10;&#10;Description automatically generated">
            <a:extLst>
              <a:ext uri="{FF2B5EF4-FFF2-40B4-BE49-F238E27FC236}">
                <a16:creationId xmlns:a16="http://schemas.microsoft.com/office/drawing/2014/main" id="{DF8AFB35-70B5-E740-93CD-900D94BC79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6" r="1" b="790"/>
          <a:stretch/>
        </p:blipFill>
        <p:spPr>
          <a:xfrm>
            <a:off x="9222741" y="3474720"/>
            <a:ext cx="2969259" cy="3383280"/>
          </a:xfrm>
          <a:prstGeom prst="rect">
            <a:avLst/>
          </a:prstGeom>
        </p:spPr>
      </p:pic>
      <p:pic>
        <p:nvPicPr>
          <p:cNvPr id="12" name="Picture Placeholder 5" descr="A person sitting at a table&#10;&#10;Description automatically generated">
            <a:extLst>
              <a:ext uri="{FF2B5EF4-FFF2-40B4-BE49-F238E27FC236}">
                <a16:creationId xmlns:a16="http://schemas.microsoft.com/office/drawing/2014/main" id="{42871169-12A8-1C42-9606-1A70317D6D0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85" t="492" r="298"/>
          <a:stretch/>
        </p:blipFill>
        <p:spPr>
          <a:xfrm>
            <a:off x="5120640" y="3474720"/>
            <a:ext cx="4010661" cy="3383280"/>
          </a:xfrm>
          <a:prstGeom prst="rect">
            <a:avLst/>
          </a:prstGeom>
        </p:spPr>
      </p:pic>
      <p:pic>
        <p:nvPicPr>
          <p:cNvPr id="7" name="Picture 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D423E103-45C5-C544-AE70-25DAFC51AC46}"/>
              </a:ext>
            </a:extLst>
          </p:cNvPr>
          <p:cNvPicPr>
            <a:picLocks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38" b="752"/>
          <a:stretch/>
        </p:blipFill>
        <p:spPr>
          <a:xfrm>
            <a:off x="5120640" y="0"/>
            <a:ext cx="7071359" cy="338328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7DD33B4-743D-094D-8306-F969998CF954}"/>
              </a:ext>
            </a:extLst>
          </p:cNvPr>
          <p:cNvSpPr txBox="1"/>
          <p:nvPr/>
        </p:nvSpPr>
        <p:spPr>
          <a:xfrm>
            <a:off x="442912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A6987A9-AF90-0846-884F-3288346AD80C}"/>
              </a:ext>
            </a:extLst>
          </p:cNvPr>
          <p:cNvSpPr>
            <a:spLocks/>
          </p:cNvSpPr>
          <p:nvPr/>
        </p:nvSpPr>
        <p:spPr>
          <a:xfrm>
            <a:off x="0" y="0"/>
            <a:ext cx="50292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F0C5DEA6-4A5A-C842-A4A5-747B5DFD37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465015"/>
            <a:ext cx="4114800" cy="3908204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lang="en-US" sz="3400" dirty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ternate: Click to Add Presentation Title in Arial Bold 34pt, Title Case.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7C878F1E-8E9D-AC46-ADC9-0E7E1942589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4683185"/>
            <a:ext cx="4114800" cy="1240095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 / Author Na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09852F-3FE9-C74F-A95B-29EE0199A97B}"/>
              </a:ext>
            </a:extLst>
          </p:cNvPr>
          <p:cNvSpPr txBox="1"/>
          <p:nvPr userDrawn="1"/>
        </p:nvSpPr>
        <p:spPr>
          <a:xfrm>
            <a:off x="442912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F74A8BD-06D6-774D-BB00-8AC2D8625409}"/>
              </a:ext>
            </a:extLst>
          </p:cNvPr>
          <p:cNvSpPr txBox="1">
            <a:spLocks/>
          </p:cNvSpPr>
          <p:nvPr userDrawn="1"/>
        </p:nvSpPr>
        <p:spPr>
          <a:xfrm>
            <a:off x="457200" y="6228314"/>
            <a:ext cx="4114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EVERY CONNECTION COUNT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0FD064E-6FA8-7045-BCCE-7DDB873A01D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29137"/>
            <a:ext cx="4114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8">
            <a:extLst>
              <a:ext uri="{FF2B5EF4-FFF2-40B4-BE49-F238E27FC236}">
                <a16:creationId xmlns:a16="http://schemas.microsoft.com/office/drawing/2014/main" id="{CCB78FBD-9D1D-4309-BEC3-06129D3C05B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2609017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76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B2664959-46D8-054F-8588-033E387479F3}"/>
              </a:ext>
            </a:extLst>
          </p:cNvPr>
          <p:cNvSpPr>
            <a:spLocks noGrp="1"/>
          </p:cNvSpPr>
          <p:nvPr>
            <p:ph type="media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 Click on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2833290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 flipV="1">
            <a:off x="-1" y="1012825"/>
            <a:ext cx="343852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018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WHEN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TECHNOLOGY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CONNECTS,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SO DOES HUMANITY.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735AF164-5BA5-0540-AC75-6FC45B99E7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DC987BD6-70A2-0A45-A795-1BFB4C2BBD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8433587-EBEA-BC40-AFD0-0054455AE5A8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C9DBFA-7C63-9A42-8D34-85290155702B}"/>
              </a:ext>
            </a:extLst>
          </p:cNvPr>
          <p:cNvSpPr/>
          <p:nvPr userDrawn="1"/>
        </p:nvSpPr>
        <p:spPr>
          <a:xfrm flipV="1">
            <a:off x="822325" y="4765664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584FE53-37BB-B348-A18D-1483B55007AA}"/>
              </a:ext>
            </a:extLst>
          </p:cNvPr>
          <p:cNvSpPr/>
          <p:nvPr userDrawn="1"/>
        </p:nvSpPr>
        <p:spPr>
          <a:xfrm>
            <a:off x="808217" y="5828605"/>
            <a:ext cx="3038652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1460" b="1" dirty="0">
                <a:solidFill>
                  <a:schemeClr val="bg1"/>
                </a:solidFill>
              </a:rPr>
              <a:t>EVERY CONNECTION COUNTS</a:t>
            </a:r>
          </a:p>
        </p:txBody>
      </p:sp>
    </p:spTree>
    <p:extLst>
      <p:ext uri="{BB962C8B-B14F-4D97-AF65-F5344CB8AC3E}">
        <p14:creationId xmlns:p14="http://schemas.microsoft.com/office/powerpoint/2010/main" val="20183793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2682875" cy="63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DE2310-9E50-D24D-B896-71DE1C01244C}"/>
              </a:ext>
            </a:extLst>
          </p:cNvPr>
          <p:cNvSpPr/>
          <p:nvPr/>
        </p:nvSpPr>
        <p:spPr>
          <a:xfrm flipV="1">
            <a:off x="822325" y="4755616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4520" y="1236340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ANY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CONNECTION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CAN CHANGE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THE WORLD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3E16F211-F358-404B-8BF4-41D4E066BE5D}"/>
              </a:ext>
            </a:extLst>
          </p:cNvPr>
          <p:cNvSpPr/>
          <p:nvPr/>
        </p:nvSpPr>
        <p:spPr>
          <a:xfrm>
            <a:off x="808217" y="5828605"/>
            <a:ext cx="3038652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1460" b="1" dirty="0">
                <a:solidFill>
                  <a:schemeClr val="bg1"/>
                </a:solidFill>
              </a:rPr>
              <a:t>EVERY CONNECTION COUNTS</a:t>
            </a:r>
          </a:p>
        </p:txBody>
      </p:sp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761C9FE8-862E-594D-8966-7E12288406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BCA0F4B5-BE64-C44B-8783-2D66121F51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83DA7FF-F448-4B45-BF6E-3DBB359A1497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5502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4457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012837"/>
            <a:ext cx="5133708" cy="63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666895" y="1246388"/>
            <a:ext cx="1038225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CONNECT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LIKE THE WORLD</a:t>
            </a:r>
            <a:br>
              <a:rPr lang="en-US" sz="7000" b="1" cap="all" dirty="0">
                <a:solidFill>
                  <a:schemeClr val="bg1"/>
                </a:solidFill>
              </a:rPr>
            </a:br>
            <a:r>
              <a:rPr lang="en-US" sz="7000" b="1" cap="all" dirty="0">
                <a:solidFill>
                  <a:schemeClr val="bg1"/>
                </a:solidFill>
              </a:rPr>
              <a:t>DEPENDS ON IT.</a:t>
            </a:r>
          </a:p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BECAUSE IT DOES.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AF98D5A3-3938-324A-AF58-5CCD6BFC6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B69BCFC9-4EF0-6244-8850-EA36FF21C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790EE04-1894-7040-8A66-EE58AAB5042C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03F8178-841C-3648-BCA6-AA662050156C}"/>
              </a:ext>
            </a:extLst>
          </p:cNvPr>
          <p:cNvSpPr/>
          <p:nvPr userDrawn="1"/>
        </p:nvSpPr>
        <p:spPr>
          <a:xfrm>
            <a:off x="808217" y="5828605"/>
            <a:ext cx="3038652" cy="32316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1460" b="1" dirty="0">
                <a:solidFill>
                  <a:schemeClr val="bg1"/>
                </a:solidFill>
              </a:rPr>
              <a:t>EVERY CONNECTION COUNT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480963-5F58-C248-8C46-20836D1EFA8F}"/>
              </a:ext>
            </a:extLst>
          </p:cNvPr>
          <p:cNvSpPr/>
          <p:nvPr userDrawn="1"/>
        </p:nvSpPr>
        <p:spPr>
          <a:xfrm flipV="1">
            <a:off x="822325" y="4785760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058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very Connection Counts 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17" hidden="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448585E-6D04-6A48-8018-C49541C02DA5}"/>
              </a:ext>
            </a:extLst>
          </p:cNvPr>
          <p:cNvSpPr txBox="1"/>
          <p:nvPr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C31E51-98A8-694F-B61B-DA6EEF6459F6}"/>
              </a:ext>
            </a:extLst>
          </p:cNvPr>
          <p:cNvSpPr>
            <a:spLocks noChangeAspect="1"/>
          </p:cNvSpPr>
          <p:nvPr/>
        </p:nvSpPr>
        <p:spPr>
          <a:xfrm>
            <a:off x="0" y="4457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F44585-9CD4-1540-BF2C-408573C5F803}"/>
              </a:ext>
            </a:extLst>
          </p:cNvPr>
          <p:cNvSpPr/>
          <p:nvPr/>
        </p:nvSpPr>
        <p:spPr>
          <a:xfrm>
            <a:off x="0" y="1754052"/>
            <a:ext cx="3852000" cy="63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41D52-84F7-D647-95E2-93AEFB8228F5}"/>
              </a:ext>
            </a:extLst>
          </p:cNvPr>
          <p:cNvSpPr/>
          <p:nvPr/>
        </p:nvSpPr>
        <p:spPr>
          <a:xfrm>
            <a:off x="717136" y="2049585"/>
            <a:ext cx="103822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Every</a:t>
            </a:r>
          </a:p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Connection</a:t>
            </a:r>
          </a:p>
          <a:p>
            <a:pPr>
              <a:lnSpc>
                <a:spcPct val="80000"/>
              </a:lnSpc>
            </a:pPr>
            <a:r>
              <a:rPr lang="en-US" sz="7000" b="1" cap="all" dirty="0">
                <a:solidFill>
                  <a:schemeClr val="bg1"/>
                </a:solidFill>
              </a:rPr>
              <a:t>Counts</a:t>
            </a:r>
            <a:endParaRPr lang="en-US" sz="7000" b="1" dirty="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CC7EB59-697F-BE40-A466-19DEDCC0BA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2951" y="5215637"/>
            <a:ext cx="2292948" cy="1310257"/>
          </a:xfrm>
          <a:prstGeom prst="rect">
            <a:avLst/>
          </a:prstGeom>
        </p:spPr>
      </p:pic>
      <p:pic>
        <p:nvPicPr>
          <p:cNvPr id="11" name="Picture 10" hidden="1">
            <a:extLst>
              <a:ext uri="{FF2B5EF4-FFF2-40B4-BE49-F238E27FC236}">
                <a16:creationId xmlns:a16="http://schemas.microsoft.com/office/drawing/2014/main" id="{AF98D5A3-3938-324A-AF58-5CCD6BFC6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B69BCFC9-4EF0-6244-8850-EA36FF21C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295400"/>
            <a:ext cx="4627996" cy="21255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790EE04-1894-7040-8A66-EE58AAB5042C}"/>
              </a:ext>
            </a:extLst>
          </p:cNvPr>
          <p:cNvSpPr txBox="1"/>
          <p:nvPr userDrawn="1"/>
        </p:nvSpPr>
        <p:spPr>
          <a:xfrm>
            <a:off x="2411006" y="6247115"/>
            <a:ext cx="1475194" cy="5847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aseline="0">
                <a:solidFill>
                  <a:srgbClr val="94969C"/>
                </a:solidFill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2pPr>
            <a:lvl3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4pPr>
            <a:lvl5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480963-5F58-C248-8C46-20836D1EFA8F}"/>
              </a:ext>
            </a:extLst>
          </p:cNvPr>
          <p:cNvSpPr/>
          <p:nvPr userDrawn="1"/>
        </p:nvSpPr>
        <p:spPr>
          <a:xfrm flipV="1">
            <a:off x="822325" y="4765664"/>
            <a:ext cx="11369675" cy="640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0141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ingle Line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A96D6A3-D984-7A49-B9FA-D339C4A798F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123950"/>
            <a:ext cx="11274552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34627D7-85CB-40CE-8E78-7026EB779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532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34627D7-85CB-40CE-8E78-7026EB779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1ADCF7-C70F-4546-9086-6359477EAB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4A37731-F64F-9A46-9EEF-DDDB6449F5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dirty="0"/>
            </a:lvl1pPr>
          </a:lstStyle>
          <a:p>
            <a:r>
              <a:rPr lang="en-US" dirty="0"/>
              <a:t>Click to Add Title in Arial Bold 28pt, Title Case.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0BA59F0-B45F-4D4A-AF00-4088B132F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2816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236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Two Lines)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AC27B83-1BAA-E847-9482-CEA3595BEC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581912"/>
            <a:ext cx="11274552" cy="45811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714D2FF-C04C-4037-AFF6-2DB1D3D68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90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714D2FF-C04C-4037-AFF6-2DB1D3D68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8D16E60-B3CB-4607-A7EA-261A15BD77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9144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Add Title in Arial Bold 28pt, Max Two Lines,</a:t>
            </a:r>
            <a:br>
              <a:rPr lang="en-US" dirty="0"/>
            </a:br>
            <a:r>
              <a:rPr lang="en-US" dirty="0"/>
              <a:t>Title Case. 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4041F-3EF9-4606-B313-4A4579E3C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58648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1E90F32-22F1-7243-A2BA-4CA91A110EE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56338" y="1125540"/>
            <a:ext cx="5477256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971099-ABEA-5943-883C-954DF57B598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125539"/>
            <a:ext cx="5477256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71ED80-F9FE-4B5E-A518-B6622F6D6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46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C71ED80-F9FE-4B5E-A518-B6622F6D6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46F9DD-0E2C-4448-AA2D-9785F218A4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 in Arial Bold 28pt, Title Case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12A96CC-F04F-4F0E-A6C3-B708A9D2BA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7764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5971099-ABEA-5943-883C-954DF57B598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125539"/>
            <a:ext cx="3302000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C71ED80-F9FE-4B5E-A518-B6622F6D6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464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C71ED80-F9FE-4B5E-A518-B6622F6D6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46F9DD-0E2C-4448-AA2D-9785F218A4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 in Arial Bold 28pt, Title Case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12A96CC-F04F-4F0E-A6C3-B708A9D2BA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4926B4C-AD40-8053-08BF-0AB83E7FF10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432800" y="1125539"/>
            <a:ext cx="3302000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4764CCF-08CB-2A84-274B-BAAD7AFDEE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445000" y="1125539"/>
            <a:ext cx="3302000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</p:spTree>
    <p:extLst>
      <p:ext uri="{BB962C8B-B14F-4D97-AF65-F5344CB8AC3E}">
        <p14:creationId xmlns:p14="http://schemas.microsoft.com/office/powerpoint/2010/main" val="1522497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9AFE1CA-87CC-9445-A146-378AB65B229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57544" y="1593848"/>
            <a:ext cx="5477256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66DDCD4-09EC-ED4E-B351-8F159751183A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593849"/>
            <a:ext cx="5477256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D0A59BC-495D-400D-A829-923E06D09F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618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D0A59BC-495D-400D-A829-923E06D09F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FD21EB-4CEF-412F-875D-85719153CD0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 in Arial Bold 28pt, Title Case.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57925" y="1125540"/>
            <a:ext cx="5476875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113C277-75BB-42B8-9BB8-B8151B360B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788B2E7-1636-4912-B043-21860593EE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125540"/>
            <a:ext cx="5476875" cy="283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US" sz="2000" b="1" dirty="0" smtClean="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6694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972062C-09FE-1F40-B256-ABFC1DB7579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094289" y="1125539"/>
            <a:ext cx="6638544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05F2344-9EE1-194A-ADB4-9F39013E9BC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0" y="1125539"/>
            <a:ext cx="4315968" cy="5038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728AF8B-C46B-49AB-8C9B-26001729A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789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728AF8B-C46B-49AB-8C9B-26001729A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7906673-9B5D-4E06-A43F-5EDBE9DE59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67831"/>
            <a:ext cx="9829802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 in Arial Bold 28pt, Title Case.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FCAA217-4CDA-4F5C-A989-602D7B9FBE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73105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0DBF984-761B-4AAC-ADE9-6391B34A6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0910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8927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7629916-33A1-436B-9DBE-647C730FD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05588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624" imgH="623" progId="TCLayout.ActiveDocument.1">
                  <p:embed/>
                </p:oleObj>
              </mc:Choice>
              <mc:Fallback>
                <p:oleObj name="think-cell Slide" r:id="rId28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7629916-33A1-436B-9DBE-647C730FD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DCB2006-92F3-4EE4-A9F7-0175F89EA58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A81C1CC2-597F-764A-8A90-3F8C75BC1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7831"/>
            <a:ext cx="982980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CB28405B-4E36-3749-A149-C32150EE17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00" y="6485184"/>
            <a:ext cx="257176" cy="372816"/>
          </a:xfrm>
          <a:prstGeom prst="rect">
            <a:avLst/>
          </a:prstGeom>
          <a:noFill/>
        </p:spPr>
        <p:txBody>
          <a:bodyPr wrap="none" lIns="0" tIns="46800" rIns="0" bIns="0" rtlCol="0">
            <a:noAutofit/>
          </a:bodyPr>
          <a:lstStyle>
            <a:lvl1pPr>
              <a:defRPr lang="en-US" sz="800" b="0" baseline="0" smtClean="0"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A431686-8DE2-9B43-980D-29AE692D7900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EAC5401-B794-1C4D-A638-798EB2B93A3B}"/>
              </a:ext>
            </a:extLst>
          </p:cNvPr>
          <p:cNvSpPr txBox="1"/>
          <p:nvPr/>
        </p:nvSpPr>
        <p:spPr>
          <a:xfrm>
            <a:off x="788366" y="6487089"/>
            <a:ext cx="10255926" cy="19327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>
              <a:defRPr/>
            </a:pPr>
            <a:r>
              <a:rPr lang="en-US" sz="800" b="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© 2024 TE Connectivity.</a:t>
            </a:r>
            <a:r>
              <a:rPr lang="en-US" sz="800" b="0" baseline="0" dirty="0">
                <a:solidFill>
                  <a:schemeClr val="tx1"/>
                </a:solidFill>
                <a:effectLst/>
                <a:latin typeface="Arial"/>
                <a:cs typeface="Arial"/>
              </a:rPr>
              <a:t> </a:t>
            </a:r>
            <a:r>
              <a:rPr lang="en-US" sz="800" b="0" baseline="0" dirty="0">
                <a:solidFill>
                  <a:schemeClr val="tx1"/>
                </a:solidFill>
                <a:latin typeface="Arial"/>
                <a:cs typeface="Arial"/>
              </a:rPr>
              <a:t>Confidential &amp; Proprietary. Do not reproduce or distribute externally including non-authorized representatives and distributors. </a:t>
            </a:r>
            <a:r>
              <a:rPr lang="en-US" sz="8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sustainable future by limiting print copies, and recycling paper.</a:t>
            </a:r>
            <a:endParaRPr lang="en-US" sz="800" b="0" baseline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99BD22-669C-A241-B1AD-864FE94B365C}"/>
              </a:ext>
            </a:extLst>
          </p:cNvPr>
          <p:cNvCxnSpPr>
            <a:cxnSpLocks/>
          </p:cNvCxnSpPr>
          <p:nvPr userDrawn="1"/>
        </p:nvCxnSpPr>
        <p:spPr>
          <a:xfrm>
            <a:off x="0" y="6833964"/>
            <a:ext cx="12192000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B53B5B9-3C38-5049-B878-005F1F14D5A5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4800" y="0"/>
            <a:ext cx="1080000" cy="617143"/>
          </a:xfrm>
          <a:prstGeom prst="rect">
            <a:avLst/>
          </a:prstGeom>
          <a:ln w="0">
            <a:noFill/>
          </a:ln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8A03A64-6A2C-8145-A495-79F917C24C08}"/>
              </a:ext>
            </a:extLst>
          </p:cNvPr>
          <p:cNvCxnSpPr>
            <a:cxnSpLocks/>
          </p:cNvCxnSpPr>
          <p:nvPr userDrawn="1"/>
        </p:nvCxnSpPr>
        <p:spPr>
          <a:xfrm>
            <a:off x="728663" y="6501555"/>
            <a:ext cx="0" cy="18288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522469-60A1-4766-BE51-317ECE8973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123951"/>
            <a:ext cx="11277600" cy="50383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 (font 14pt / before 0.26 / hanging 0.12)</a:t>
            </a:r>
          </a:p>
          <a:p>
            <a:pPr lvl="2"/>
            <a:r>
              <a:rPr lang="en-US" dirty="0"/>
              <a:t>Third level (font 12 </a:t>
            </a:r>
            <a:r>
              <a:rPr lang="en-US" dirty="0" err="1"/>
              <a:t>pt</a:t>
            </a:r>
            <a:r>
              <a:rPr lang="en-US" dirty="0"/>
              <a:t> / before 0.38 / hanging 0.12)</a:t>
            </a:r>
          </a:p>
          <a:p>
            <a:pPr lvl="3"/>
            <a:r>
              <a:rPr lang="en-US" dirty="0"/>
              <a:t>Fourth level (font 10 </a:t>
            </a:r>
            <a:r>
              <a:rPr lang="en-US" dirty="0" err="1"/>
              <a:t>pt</a:t>
            </a:r>
            <a:r>
              <a:rPr lang="en-US" dirty="0"/>
              <a:t> / before 0.5 / hanging 0.12)</a:t>
            </a:r>
          </a:p>
          <a:p>
            <a:pPr lvl="4"/>
            <a:r>
              <a:rPr lang="en-US" dirty="0"/>
              <a:t>Fifth level (font 8 </a:t>
            </a:r>
            <a:r>
              <a:rPr lang="en-US" dirty="0" err="1"/>
              <a:t>pt</a:t>
            </a:r>
            <a:r>
              <a:rPr lang="en-US" dirty="0"/>
              <a:t> / before 0.62 / hanging 0.12)</a:t>
            </a:r>
          </a:p>
          <a:p>
            <a:pPr lvl="5"/>
            <a:r>
              <a:rPr lang="en-US" dirty="0"/>
              <a:t>Sixth Level (font 8 </a:t>
            </a:r>
            <a:r>
              <a:rPr lang="en-US" dirty="0" err="1"/>
              <a:t>pt</a:t>
            </a:r>
            <a:r>
              <a:rPr lang="en-US" dirty="0"/>
              <a:t> / before 0.74 / hanging 0.12)</a:t>
            </a:r>
          </a:p>
          <a:p>
            <a:pPr lvl="6"/>
            <a:r>
              <a:rPr lang="en-US" dirty="0"/>
              <a:t>Seventh Level (font 8 </a:t>
            </a:r>
            <a:r>
              <a:rPr lang="en-US" dirty="0" err="1"/>
              <a:t>pt</a:t>
            </a:r>
            <a:r>
              <a:rPr lang="en-US" dirty="0"/>
              <a:t> / before 0.86 / hanging 0.12)</a:t>
            </a:r>
          </a:p>
          <a:p>
            <a:pPr lvl="7"/>
            <a:r>
              <a:rPr lang="en-US" dirty="0"/>
              <a:t>Eighth Level (font 8 </a:t>
            </a:r>
            <a:r>
              <a:rPr lang="en-US" dirty="0" err="1"/>
              <a:t>pt</a:t>
            </a:r>
            <a:r>
              <a:rPr lang="en-US" dirty="0"/>
              <a:t> / before 0.98 / hanging 0.12)</a:t>
            </a:r>
          </a:p>
          <a:p>
            <a:pPr lvl="8"/>
            <a:r>
              <a:rPr lang="en-US" dirty="0"/>
              <a:t>Ninth Level (font 8 </a:t>
            </a:r>
            <a:r>
              <a:rPr lang="en-US" dirty="0" err="1"/>
              <a:t>pt</a:t>
            </a:r>
            <a:r>
              <a:rPr lang="en-US" dirty="0"/>
              <a:t> / before 1.1 / hanging 0.12)</a:t>
            </a:r>
          </a:p>
        </p:txBody>
      </p:sp>
    </p:spTree>
    <p:extLst>
      <p:ext uri="{BB962C8B-B14F-4D97-AF65-F5344CB8AC3E}">
        <p14:creationId xmlns:p14="http://schemas.microsoft.com/office/powerpoint/2010/main" val="4211965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63" r:id="rId5"/>
    <p:sldLayoutId id="2147483776" r:id="rId6"/>
    <p:sldLayoutId id="2147483764" r:id="rId7"/>
    <p:sldLayoutId id="2147483765" r:id="rId8"/>
    <p:sldLayoutId id="2147483767" r:id="rId9"/>
    <p:sldLayoutId id="2147483768" r:id="rId10"/>
    <p:sldLayoutId id="2147483773" r:id="rId11"/>
    <p:sldLayoutId id="2147483756" r:id="rId12"/>
    <p:sldLayoutId id="2147483758" r:id="rId13"/>
    <p:sldLayoutId id="2147483759" r:id="rId14"/>
    <p:sldLayoutId id="2147483762" r:id="rId15"/>
    <p:sldLayoutId id="2147483760" r:id="rId16"/>
    <p:sldLayoutId id="2147483761" r:id="rId17"/>
    <p:sldLayoutId id="2147483774" r:id="rId18"/>
    <p:sldLayoutId id="2147483775" r:id="rId19"/>
    <p:sldLayoutId id="2147483769" r:id="rId20"/>
    <p:sldLayoutId id="2147483770" r:id="rId21"/>
    <p:sldLayoutId id="2147483771" r:id="rId22"/>
    <p:sldLayoutId id="2147483772" r:id="rId23"/>
    <p:sldLayoutId id="2147483777" r:id="rId24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37744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09728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58788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566928" indent="-109728" algn="l" defTabSz="914400" rtl="0" eaLnBrk="1" latinLnBrk="0" hangingPunct="1">
        <a:lnSpc>
          <a:spcPct val="11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tabLst/>
        <a:defRPr sz="800" kern="1200">
          <a:solidFill>
            <a:schemeClr val="tx2"/>
          </a:solidFill>
          <a:latin typeface="+mn-lt"/>
          <a:ea typeface="+mn-ea"/>
          <a:cs typeface="+mn-cs"/>
        </a:defRPr>
      </a:lvl5pPr>
      <a:lvl6pPr marL="676656" marR="0" indent="-10953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786384" marR="0" indent="-10953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896112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1005840" marR="0" indent="-109728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72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orient="horz" pos="3234" userDrawn="1">
          <p15:clr>
            <a:srgbClr val="F26B43"/>
          </p15:clr>
        </p15:guide>
        <p15:guide id="4" pos="1483" userDrawn="1">
          <p15:clr>
            <a:srgbClr val="F26B43"/>
          </p15:clr>
        </p15:guide>
        <p15:guide id="5" pos="2612" userDrawn="1">
          <p15:clr>
            <a:srgbClr val="F26B43"/>
          </p15:clr>
        </p15:guide>
        <p15:guide id="6" pos="7392" userDrawn="1">
          <p15:clr>
            <a:srgbClr val="F26B43"/>
          </p15:clr>
        </p15:guide>
        <p15:guide id="7" orient="horz" pos="3884" userDrawn="1">
          <p15:clr>
            <a:srgbClr val="F26B43"/>
          </p15:clr>
        </p15:guide>
        <p15:guide id="8" pos="1417" userDrawn="1">
          <p15:clr>
            <a:srgbClr val="F26B43"/>
          </p15:clr>
        </p15:guide>
        <p15:guide id="9" pos="2678" userDrawn="1">
          <p15:clr>
            <a:srgbClr val="F26B43"/>
          </p15:clr>
        </p15:guide>
        <p15:guide id="10" pos="5002" userDrawn="1">
          <p15:clr>
            <a:srgbClr val="F26B43"/>
          </p15:clr>
        </p15:guide>
        <p15:guide id="11" pos="3806" userDrawn="1">
          <p15:clr>
            <a:srgbClr val="F26B43"/>
          </p15:clr>
        </p15:guide>
        <p15:guide id="12" pos="5068" userDrawn="1">
          <p15:clr>
            <a:srgbClr val="F26B43"/>
          </p15:clr>
        </p15:guide>
        <p15:guide id="13" pos="6263" userDrawn="1">
          <p15:clr>
            <a:srgbClr val="F26B43"/>
          </p15:clr>
        </p15:guide>
        <p15:guide id="14" pos="6197" userDrawn="1">
          <p15:clr>
            <a:srgbClr val="F26B43"/>
          </p15:clr>
        </p15:guide>
        <p15:guide id="15" orient="horz" pos="708" userDrawn="1">
          <p15:clr>
            <a:srgbClr val="F26B43"/>
          </p15:clr>
        </p15:guide>
        <p15:guide id="16" pos="3874" userDrawn="1">
          <p15:clr>
            <a:srgbClr val="F26B43"/>
          </p15:clr>
        </p15:guide>
        <p15:guide id="17" orient="horz" pos="1344" userDrawn="1">
          <p15:clr>
            <a:srgbClr val="F26B43"/>
          </p15:clr>
        </p15:guide>
        <p15:guide id="18" orient="horz" pos="1934" userDrawn="1">
          <p15:clr>
            <a:srgbClr val="F26B43"/>
          </p15:clr>
        </p15:guide>
        <p15:guide id="19" orient="horz" pos="2009" userDrawn="1">
          <p15:clr>
            <a:srgbClr val="F26B43"/>
          </p15:clr>
        </p15:guide>
        <p15:guide id="20" orient="horz" pos="2585" userDrawn="1">
          <p15:clr>
            <a:srgbClr val="F26B43"/>
          </p15:clr>
        </p15:guide>
        <p15:guide id="21" orient="horz" pos="2658" userDrawn="1">
          <p15:clr>
            <a:srgbClr val="F26B43"/>
          </p15:clr>
        </p15:guide>
        <p15:guide id="22" orient="horz" pos="3308" userDrawn="1">
          <p15:clr>
            <a:srgbClr val="F26B43"/>
          </p15:clr>
        </p15:guide>
        <p15:guide id="23" pos="3738" userDrawn="1">
          <p15:clr>
            <a:srgbClr val="F26B43"/>
          </p15:clr>
        </p15:guide>
        <p15:guide id="24" pos="3941" userDrawn="1">
          <p15:clr>
            <a:srgbClr val="F26B43"/>
          </p15:clr>
        </p15:guide>
        <p15:guide id="25" pos="3005" userDrawn="1">
          <p15:clr>
            <a:srgbClr val="F26B43"/>
          </p15:clr>
        </p15:guide>
        <p15:guide id="26" pos="320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emf"/><Relationship Id="rId10" Type="http://schemas.openxmlformats.org/officeDocument/2006/relationships/image" Target="../media/image22.jpe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emf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2DBD09-7BB9-4591-85ED-B6E4BC179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9834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" imgH="635" progId="TCLayout.ActiveDocument.1">
                  <p:embed/>
                </p:oleObj>
              </mc:Choice>
              <mc:Fallback>
                <p:oleObj name="think-cell Slide" r:id="rId3" imgW="635" imgH="63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2DBD09-7BB9-4591-85ED-B6E4BC179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D9AE3446-FC64-4F15-AFB7-8D6A58648E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465015"/>
            <a:ext cx="4318000" cy="3908204"/>
          </a:xfrm>
        </p:spPr>
        <p:txBody>
          <a:bodyPr/>
          <a:lstStyle/>
          <a:p>
            <a:r>
              <a:rPr lang="de-DE" dirty="0"/>
              <a:t>PRODUCT PORTFOLIO </a:t>
            </a:r>
            <a:br>
              <a:rPr lang="de-DE" dirty="0"/>
            </a:br>
            <a:r>
              <a:rPr lang="de-DE" dirty="0"/>
              <a:t>DISTRIBUTION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1DB75DA3-256F-4364-ACDB-5653E7521C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STRIBUTION</a:t>
            </a:r>
          </a:p>
          <a:p>
            <a:r>
              <a:rPr lang="de-DE" dirty="0"/>
              <a:t>Industrial Business Unit </a:t>
            </a:r>
          </a:p>
          <a:p>
            <a:r>
              <a:rPr lang="de-DE" dirty="0"/>
              <a:t>Armando Bañón</a:t>
            </a:r>
          </a:p>
          <a:p>
            <a:r>
              <a:rPr lang="de-DE" dirty="0"/>
              <a:t>March 8th 2024</a:t>
            </a:r>
          </a:p>
        </p:txBody>
      </p:sp>
    </p:spTree>
    <p:extLst>
      <p:ext uri="{BB962C8B-B14F-4D97-AF65-F5344CB8AC3E}">
        <p14:creationId xmlns:p14="http://schemas.microsoft.com/office/powerpoint/2010/main" val="356190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CAE8B98-5852-7ED0-A76A-90F8E8DCE2E8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de-DE" sz="2000" b="1" dirty="0">
                <a:solidFill>
                  <a:srgbClr val="F1931C"/>
                </a:solidFill>
              </a:rPr>
              <a:t>Industrial automation:</a:t>
            </a: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2ECAB-6DCF-FB54-C029-45626BFC7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G‘S &amp; PRODUCTS (1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6CC66F-2FC7-B668-EB41-09B94EEA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42" name="Grupo 41">
            <a:extLst>
              <a:ext uri="{FF2B5EF4-FFF2-40B4-BE49-F238E27FC236}">
                <a16:creationId xmlns:a16="http://schemas.microsoft.com/office/drawing/2014/main" id="{8774F6DC-9EE9-6D10-A00E-FF2DB4001BB0}"/>
              </a:ext>
            </a:extLst>
          </p:cNvPr>
          <p:cNvGrpSpPr/>
          <p:nvPr/>
        </p:nvGrpSpPr>
        <p:grpSpPr>
          <a:xfrm>
            <a:off x="963736" y="1613850"/>
            <a:ext cx="2571736" cy="2996637"/>
            <a:chOff x="95315" y="1410279"/>
            <a:chExt cx="2571736" cy="2996637"/>
          </a:xfrm>
        </p:grpSpPr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BD569A51-26D5-AB77-4EA2-F8F1B03D62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5316" y="1410279"/>
              <a:ext cx="1216324" cy="1493963"/>
            </a:xfrm>
            <a:prstGeom prst="rect">
              <a:avLst/>
            </a:prstGeom>
          </p:spPr>
        </p:pic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5C1912F4-38FC-FE40-E185-8F5139DCBC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315" y="2969384"/>
              <a:ext cx="1216323" cy="1437532"/>
            </a:xfrm>
            <a:prstGeom prst="rect">
              <a:avLst/>
            </a:prstGeom>
          </p:spPr>
        </p:pic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B5A5ACFC-F519-49C7-BA5E-067CB0526C7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13497" y="1443620"/>
              <a:ext cx="1153554" cy="1427279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256B3E64-4348-3A0F-38B4-07B3C349C7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13497" y="3018103"/>
              <a:ext cx="1123314" cy="1340094"/>
            </a:xfrm>
            <a:prstGeom prst="rect">
              <a:avLst/>
            </a:prstGeom>
          </p:spPr>
        </p:pic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42A6F5B0-A7B6-21D6-DC55-7BA4728DDD98}"/>
              </a:ext>
            </a:extLst>
          </p:cNvPr>
          <p:cNvGrpSpPr/>
          <p:nvPr/>
        </p:nvGrpSpPr>
        <p:grpSpPr>
          <a:xfrm>
            <a:off x="3783871" y="1719058"/>
            <a:ext cx="7151824" cy="3235669"/>
            <a:chOff x="3783871" y="1719058"/>
            <a:chExt cx="7151824" cy="3235669"/>
          </a:xfrm>
        </p:grpSpPr>
        <p:pic>
          <p:nvPicPr>
            <p:cNvPr id="30" name="Imagen 29">
              <a:extLst>
                <a:ext uri="{FF2B5EF4-FFF2-40B4-BE49-F238E27FC236}">
                  <a16:creationId xmlns:a16="http://schemas.microsoft.com/office/drawing/2014/main" id="{90E5B27D-6315-4421-B7B1-F631947E6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14638" y="3681922"/>
              <a:ext cx="1421057" cy="1157219"/>
            </a:xfrm>
            <a:prstGeom prst="rect">
              <a:avLst/>
            </a:prstGeom>
          </p:spPr>
        </p:pic>
        <p:grpSp>
          <p:nvGrpSpPr>
            <p:cNvPr id="37" name="Grupo 36">
              <a:extLst>
                <a:ext uri="{FF2B5EF4-FFF2-40B4-BE49-F238E27FC236}">
                  <a16:creationId xmlns:a16="http://schemas.microsoft.com/office/drawing/2014/main" id="{727979BB-B8A5-D66B-B7BE-8995B50A8B90}"/>
                </a:ext>
              </a:extLst>
            </p:cNvPr>
            <p:cNvGrpSpPr/>
            <p:nvPr/>
          </p:nvGrpSpPr>
          <p:grpSpPr>
            <a:xfrm>
              <a:off x="3783871" y="1719058"/>
              <a:ext cx="1224442" cy="1573365"/>
              <a:chOff x="2883464" y="1703462"/>
              <a:chExt cx="1224442" cy="1573365"/>
            </a:xfrm>
          </p:grpSpPr>
          <p:pic>
            <p:nvPicPr>
              <p:cNvPr id="16" name="Imagen 15">
                <a:extLst>
                  <a:ext uri="{FF2B5EF4-FFF2-40B4-BE49-F238E27FC236}">
                    <a16:creationId xmlns:a16="http://schemas.microsoft.com/office/drawing/2014/main" id="{BDAA8C29-B4C2-583F-6DAC-CA7DA0E0E2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2990184" y="1937447"/>
                <a:ext cx="1117722" cy="1339380"/>
              </a:xfrm>
              <a:prstGeom prst="rect">
                <a:avLst/>
              </a:prstGeom>
            </p:spPr>
          </p:pic>
          <p:sp>
            <p:nvSpPr>
              <p:cNvPr id="36" name="CuadroTexto 35">
                <a:extLst>
                  <a:ext uri="{FF2B5EF4-FFF2-40B4-BE49-F238E27FC236}">
                    <a16:creationId xmlns:a16="http://schemas.microsoft.com/office/drawing/2014/main" id="{DBA32052-CA26-98DA-125F-25B7373F9999}"/>
                  </a:ext>
                </a:extLst>
              </p:cNvPr>
              <p:cNvSpPr txBox="1"/>
              <p:nvPr/>
            </p:nvSpPr>
            <p:spPr>
              <a:xfrm>
                <a:off x="2883464" y="1703462"/>
                <a:ext cx="90441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/>
                  <a:t>CPC ‘s</a:t>
                </a:r>
              </a:p>
            </p:txBody>
          </p:sp>
        </p:grpSp>
        <p:grpSp>
          <p:nvGrpSpPr>
            <p:cNvPr id="39" name="Grupo 38">
              <a:extLst>
                <a:ext uri="{FF2B5EF4-FFF2-40B4-BE49-F238E27FC236}">
                  <a16:creationId xmlns:a16="http://schemas.microsoft.com/office/drawing/2014/main" id="{1DFC7AE9-0142-F903-4412-7583A2A57DC3}"/>
                </a:ext>
              </a:extLst>
            </p:cNvPr>
            <p:cNvGrpSpPr/>
            <p:nvPr/>
          </p:nvGrpSpPr>
          <p:grpSpPr>
            <a:xfrm>
              <a:off x="5232041" y="1719058"/>
              <a:ext cx="1830905" cy="1561206"/>
              <a:chOff x="4461279" y="1724961"/>
              <a:chExt cx="1830905" cy="1561206"/>
            </a:xfrm>
          </p:grpSpPr>
          <p:pic>
            <p:nvPicPr>
              <p:cNvPr id="28" name="Imagen 27">
                <a:extLst>
                  <a:ext uri="{FF2B5EF4-FFF2-40B4-BE49-F238E27FC236}">
                    <a16:creationId xmlns:a16="http://schemas.microsoft.com/office/drawing/2014/main" id="{C4154433-8C46-576D-2193-FE5B42892E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500294" y="2020066"/>
                <a:ext cx="1791890" cy="1266101"/>
              </a:xfrm>
              <a:prstGeom prst="rect">
                <a:avLst/>
              </a:prstGeom>
            </p:spPr>
          </p:pic>
          <p:sp>
            <p:nvSpPr>
              <p:cNvPr id="38" name="CuadroTexto 37">
                <a:extLst>
                  <a:ext uri="{FF2B5EF4-FFF2-40B4-BE49-F238E27FC236}">
                    <a16:creationId xmlns:a16="http://schemas.microsoft.com/office/drawing/2014/main" id="{E24751A7-8F85-4D0A-35D4-C3080C4F74AE}"/>
                  </a:ext>
                </a:extLst>
              </p:cNvPr>
              <p:cNvSpPr txBox="1"/>
              <p:nvPr/>
            </p:nvSpPr>
            <p:spPr>
              <a:xfrm>
                <a:off x="4461279" y="1724961"/>
                <a:ext cx="90441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 err="1"/>
                  <a:t>RPC’s</a:t>
                </a:r>
                <a:endParaRPr lang="es-ES" sz="1400" dirty="0"/>
              </a:p>
            </p:txBody>
          </p:sp>
        </p:grpSp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9AA67025-197A-8F0E-B370-BC1E930010CD}"/>
                </a:ext>
              </a:extLst>
            </p:cNvPr>
            <p:cNvGrpSpPr/>
            <p:nvPr/>
          </p:nvGrpSpPr>
          <p:grpSpPr>
            <a:xfrm>
              <a:off x="7457364" y="1805587"/>
              <a:ext cx="1346447" cy="1480580"/>
              <a:chOff x="6981654" y="1831515"/>
              <a:chExt cx="1346447" cy="1480580"/>
            </a:xfrm>
          </p:grpSpPr>
          <p:pic>
            <p:nvPicPr>
              <p:cNvPr id="34" name="Imagen 33">
                <a:extLst>
                  <a:ext uri="{FF2B5EF4-FFF2-40B4-BE49-F238E27FC236}">
                    <a16:creationId xmlns:a16="http://schemas.microsoft.com/office/drawing/2014/main" id="{1EA849AB-4ED5-F27A-7B4F-23EF7A4C0A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981654" y="2064388"/>
                <a:ext cx="1346447" cy="1247707"/>
              </a:xfrm>
              <a:prstGeom prst="rect">
                <a:avLst/>
              </a:prstGeom>
            </p:spPr>
          </p:pic>
          <p:sp>
            <p:nvSpPr>
              <p:cNvPr id="40" name="CuadroTexto 39">
                <a:extLst>
                  <a:ext uri="{FF2B5EF4-FFF2-40B4-BE49-F238E27FC236}">
                    <a16:creationId xmlns:a16="http://schemas.microsoft.com/office/drawing/2014/main" id="{77F8EAB2-BFF6-6177-A186-97084422AFA0}"/>
                  </a:ext>
                </a:extLst>
              </p:cNvPr>
              <p:cNvSpPr txBox="1"/>
              <p:nvPr/>
            </p:nvSpPr>
            <p:spPr>
              <a:xfrm>
                <a:off x="7014118" y="1831515"/>
                <a:ext cx="131398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/>
                  <a:t>AMPMODU</a:t>
                </a:r>
              </a:p>
            </p:txBody>
          </p:sp>
        </p:grpSp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D19F0D11-EE35-1B66-AC75-8A8447FA4097}"/>
                </a:ext>
              </a:extLst>
            </p:cNvPr>
            <p:cNvGrpSpPr/>
            <p:nvPr/>
          </p:nvGrpSpPr>
          <p:grpSpPr>
            <a:xfrm>
              <a:off x="9514638" y="1862792"/>
              <a:ext cx="1389190" cy="1488690"/>
              <a:chOff x="9126608" y="1797477"/>
              <a:chExt cx="1389190" cy="1488690"/>
            </a:xfrm>
          </p:grpSpPr>
          <p:pic>
            <p:nvPicPr>
              <p:cNvPr id="1026" name="Picture 2">
                <a:extLst>
                  <a:ext uri="{FF2B5EF4-FFF2-40B4-BE49-F238E27FC236}">
                    <a16:creationId xmlns:a16="http://schemas.microsoft.com/office/drawing/2014/main" id="{C45237DD-989C-BCC4-05B2-46A59825042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01816" y="2042078"/>
                <a:ext cx="1313982" cy="12440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" name="CuadroTexto 42">
                <a:extLst>
                  <a:ext uri="{FF2B5EF4-FFF2-40B4-BE49-F238E27FC236}">
                    <a16:creationId xmlns:a16="http://schemas.microsoft.com/office/drawing/2014/main" id="{6472B82B-2CC6-A093-3D4B-3A1A8C4350DA}"/>
                  </a:ext>
                </a:extLst>
              </p:cNvPr>
              <p:cNvSpPr txBox="1"/>
              <p:nvPr/>
            </p:nvSpPr>
            <p:spPr>
              <a:xfrm>
                <a:off x="9126608" y="1797477"/>
                <a:ext cx="92648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/>
                  <a:t>RELAYS</a:t>
                </a:r>
              </a:p>
            </p:txBody>
          </p:sp>
        </p:grpSp>
        <p:grpSp>
          <p:nvGrpSpPr>
            <p:cNvPr id="46" name="Grupo 45">
              <a:extLst>
                <a:ext uri="{FF2B5EF4-FFF2-40B4-BE49-F238E27FC236}">
                  <a16:creationId xmlns:a16="http://schemas.microsoft.com/office/drawing/2014/main" id="{0869935A-2BE1-95F7-9E6D-7132CAFB7964}"/>
                </a:ext>
              </a:extLst>
            </p:cNvPr>
            <p:cNvGrpSpPr/>
            <p:nvPr/>
          </p:nvGrpSpPr>
          <p:grpSpPr>
            <a:xfrm>
              <a:off x="4160280" y="3429000"/>
              <a:ext cx="2891540" cy="1525727"/>
              <a:chOff x="4160280" y="3429000"/>
              <a:chExt cx="2221551" cy="1414985"/>
            </a:xfrm>
          </p:grpSpPr>
          <p:pic>
            <p:nvPicPr>
              <p:cNvPr id="25" name="Imagen 24">
                <a:extLst>
                  <a:ext uri="{FF2B5EF4-FFF2-40B4-BE49-F238E27FC236}">
                    <a16:creationId xmlns:a16="http://schemas.microsoft.com/office/drawing/2014/main" id="{28CD52B1-A6A0-F514-A59D-CC11A3A51C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160280" y="3677080"/>
                <a:ext cx="2221551" cy="1166905"/>
              </a:xfrm>
              <a:prstGeom prst="rect">
                <a:avLst/>
              </a:prstGeom>
            </p:spPr>
          </p:pic>
          <p:sp>
            <p:nvSpPr>
              <p:cNvPr id="45" name="CuadroTexto 44">
                <a:extLst>
                  <a:ext uri="{FF2B5EF4-FFF2-40B4-BE49-F238E27FC236}">
                    <a16:creationId xmlns:a16="http://schemas.microsoft.com/office/drawing/2014/main" id="{C29BEB5E-1296-CF30-6877-08436E5D8DE6}"/>
                  </a:ext>
                </a:extLst>
              </p:cNvPr>
              <p:cNvSpPr txBox="1"/>
              <p:nvPr/>
            </p:nvSpPr>
            <p:spPr>
              <a:xfrm>
                <a:off x="4236080" y="3429000"/>
                <a:ext cx="157260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/>
                  <a:t>DYNAMIC. RITS</a:t>
                </a:r>
              </a:p>
            </p:txBody>
          </p:sp>
        </p:grpSp>
        <p:grpSp>
          <p:nvGrpSpPr>
            <p:cNvPr id="48" name="Grupo 47">
              <a:extLst>
                <a:ext uri="{FF2B5EF4-FFF2-40B4-BE49-F238E27FC236}">
                  <a16:creationId xmlns:a16="http://schemas.microsoft.com/office/drawing/2014/main" id="{2B679BB6-3A6B-EF24-07A8-C666583A7C4E}"/>
                </a:ext>
              </a:extLst>
            </p:cNvPr>
            <p:cNvGrpSpPr/>
            <p:nvPr/>
          </p:nvGrpSpPr>
          <p:grpSpPr>
            <a:xfrm>
              <a:off x="7489828" y="3429000"/>
              <a:ext cx="1462274" cy="1414985"/>
              <a:chOff x="7489828" y="3429000"/>
              <a:chExt cx="1462274" cy="1414985"/>
            </a:xfrm>
          </p:grpSpPr>
          <p:pic>
            <p:nvPicPr>
              <p:cNvPr id="32" name="Imagen 31">
                <a:extLst>
                  <a:ext uri="{FF2B5EF4-FFF2-40B4-BE49-F238E27FC236}">
                    <a16:creationId xmlns:a16="http://schemas.microsoft.com/office/drawing/2014/main" id="{F6360C4D-2C03-F2EB-6BDA-F61A33E7E6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489828" y="3686766"/>
                <a:ext cx="1462274" cy="1157219"/>
              </a:xfrm>
              <a:prstGeom prst="rect">
                <a:avLst/>
              </a:prstGeom>
            </p:spPr>
          </p:pic>
          <p:sp>
            <p:nvSpPr>
              <p:cNvPr id="47" name="CuadroTexto 46">
                <a:extLst>
                  <a:ext uri="{FF2B5EF4-FFF2-40B4-BE49-F238E27FC236}">
                    <a16:creationId xmlns:a16="http://schemas.microsoft.com/office/drawing/2014/main" id="{2DB70166-D084-3F42-9487-FCA234F0C8AD}"/>
                  </a:ext>
                </a:extLst>
              </p:cNvPr>
              <p:cNvSpPr txBox="1"/>
              <p:nvPr/>
            </p:nvSpPr>
            <p:spPr>
              <a:xfrm>
                <a:off x="7526984" y="3429000"/>
                <a:ext cx="94995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/>
                  <a:t>RJ 45</a:t>
                </a:r>
              </a:p>
            </p:txBody>
          </p:sp>
        </p:grpSp>
        <p:sp>
          <p:nvSpPr>
            <p:cNvPr id="50" name="CuadroTexto 49">
              <a:extLst>
                <a:ext uri="{FF2B5EF4-FFF2-40B4-BE49-F238E27FC236}">
                  <a16:creationId xmlns:a16="http://schemas.microsoft.com/office/drawing/2014/main" id="{E8FA1750-B9F9-0D9F-6994-597DBD615739}"/>
                </a:ext>
              </a:extLst>
            </p:cNvPr>
            <p:cNvSpPr txBox="1"/>
            <p:nvPr/>
          </p:nvSpPr>
          <p:spPr>
            <a:xfrm>
              <a:off x="9514638" y="3442194"/>
              <a:ext cx="128173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400" dirty="0"/>
                <a:t>SWITCHES</a:t>
              </a:r>
            </a:p>
          </p:txBody>
        </p:sp>
      </p:grpSp>
      <p:grpSp>
        <p:nvGrpSpPr>
          <p:cNvPr id="55" name="Grupo 54">
            <a:extLst>
              <a:ext uri="{FF2B5EF4-FFF2-40B4-BE49-F238E27FC236}">
                <a16:creationId xmlns:a16="http://schemas.microsoft.com/office/drawing/2014/main" id="{425B8F42-7870-23B6-BB0B-A600899B5704}"/>
              </a:ext>
            </a:extLst>
          </p:cNvPr>
          <p:cNvGrpSpPr/>
          <p:nvPr/>
        </p:nvGrpSpPr>
        <p:grpSpPr>
          <a:xfrm>
            <a:off x="4679387" y="206366"/>
            <a:ext cx="6588465" cy="1528254"/>
            <a:chOff x="5301479" y="169015"/>
            <a:chExt cx="6588465" cy="1528254"/>
          </a:xfrm>
        </p:grpSpPr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5E156CE8-1BE3-C01D-E303-73719F3A4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301479" y="169015"/>
              <a:ext cx="5555954" cy="1463684"/>
            </a:xfrm>
            <a:prstGeom prst="rect">
              <a:avLst/>
            </a:prstGeom>
          </p:spPr>
        </p:pic>
        <p:sp>
          <p:nvSpPr>
            <p:cNvPr id="54" name="Explosión: 8 puntos 53">
              <a:extLst>
                <a:ext uri="{FF2B5EF4-FFF2-40B4-BE49-F238E27FC236}">
                  <a16:creationId xmlns:a16="http://schemas.microsoft.com/office/drawing/2014/main" id="{9C3B81FA-B67C-D23E-7023-BB80315CC2E7}"/>
                </a:ext>
              </a:extLst>
            </p:cNvPr>
            <p:cNvSpPr/>
            <p:nvPr/>
          </p:nvSpPr>
          <p:spPr>
            <a:xfrm>
              <a:off x="10881545" y="909905"/>
              <a:ext cx="1008399" cy="787364"/>
            </a:xfrm>
            <a:prstGeom prst="irregularSeal1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dirty="0"/>
                <a:t>NEW</a:t>
              </a:r>
            </a:p>
          </p:txBody>
        </p:sp>
      </p:grpSp>
      <p:grpSp>
        <p:nvGrpSpPr>
          <p:cNvPr id="59" name="Grupo 58">
            <a:extLst>
              <a:ext uri="{FF2B5EF4-FFF2-40B4-BE49-F238E27FC236}">
                <a16:creationId xmlns:a16="http://schemas.microsoft.com/office/drawing/2014/main" id="{2897E225-F738-41FF-B3FB-34F99DDFBF92}"/>
              </a:ext>
            </a:extLst>
          </p:cNvPr>
          <p:cNvGrpSpPr/>
          <p:nvPr/>
        </p:nvGrpSpPr>
        <p:grpSpPr>
          <a:xfrm>
            <a:off x="546736" y="4954727"/>
            <a:ext cx="9429024" cy="1274298"/>
            <a:chOff x="546736" y="4954727"/>
            <a:chExt cx="9429024" cy="1274298"/>
          </a:xfrm>
        </p:grpSpPr>
        <p:grpSp>
          <p:nvGrpSpPr>
            <p:cNvPr id="53" name="Grupo 52">
              <a:extLst>
                <a:ext uri="{FF2B5EF4-FFF2-40B4-BE49-F238E27FC236}">
                  <a16:creationId xmlns:a16="http://schemas.microsoft.com/office/drawing/2014/main" id="{261637D8-D3BD-992B-A1B8-3F31B3E2E150}"/>
                </a:ext>
              </a:extLst>
            </p:cNvPr>
            <p:cNvGrpSpPr/>
            <p:nvPr/>
          </p:nvGrpSpPr>
          <p:grpSpPr>
            <a:xfrm>
              <a:off x="963736" y="4954727"/>
              <a:ext cx="9012024" cy="1211298"/>
              <a:chOff x="963736" y="4954727"/>
              <a:chExt cx="9012024" cy="1211298"/>
            </a:xfrm>
          </p:grpSpPr>
          <p:grpSp>
            <p:nvGrpSpPr>
              <p:cNvPr id="26" name="Grupo 25">
                <a:extLst>
                  <a:ext uri="{FF2B5EF4-FFF2-40B4-BE49-F238E27FC236}">
                    <a16:creationId xmlns:a16="http://schemas.microsoft.com/office/drawing/2014/main" id="{6DD196B2-1387-E566-6202-138D26F46655}"/>
                  </a:ext>
                </a:extLst>
              </p:cNvPr>
              <p:cNvGrpSpPr/>
              <p:nvPr/>
            </p:nvGrpSpPr>
            <p:grpSpPr>
              <a:xfrm>
                <a:off x="1046476" y="5255235"/>
                <a:ext cx="8929284" cy="910790"/>
                <a:chOff x="2605646" y="5124600"/>
                <a:chExt cx="8926884" cy="977278"/>
              </a:xfrm>
            </p:grpSpPr>
            <p:pic>
              <p:nvPicPr>
                <p:cNvPr id="18" name="Picture 2" descr="An orange and black electronic connectors&#10;&#10;Description automatically generated">
                  <a:extLst>
                    <a:ext uri="{FF2B5EF4-FFF2-40B4-BE49-F238E27FC236}">
                      <a16:creationId xmlns:a16="http://schemas.microsoft.com/office/drawing/2014/main" id="{5D673408-06D1-4F78-D9ED-C7361AA447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2605646" y="5124600"/>
                  <a:ext cx="1358397" cy="977278"/>
                </a:xfrm>
                <a:prstGeom prst="rect">
                  <a:avLst/>
                </a:prstGeom>
              </p:spPr>
            </p:pic>
            <p:pic>
              <p:nvPicPr>
                <p:cNvPr id="23" name="Imagen 22">
                  <a:extLst>
                    <a:ext uri="{FF2B5EF4-FFF2-40B4-BE49-F238E27FC236}">
                      <a16:creationId xmlns:a16="http://schemas.microsoft.com/office/drawing/2014/main" id="{1AC1A61B-6659-20B3-2765-D6F1AD54E78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022777" y="5124600"/>
                  <a:ext cx="7509753" cy="963038"/>
                </a:xfrm>
                <a:prstGeom prst="rect">
                  <a:avLst/>
                </a:prstGeom>
              </p:spPr>
            </p:pic>
          </p:grpSp>
          <p:sp>
            <p:nvSpPr>
              <p:cNvPr id="51" name="CuadroTexto 50">
                <a:extLst>
                  <a:ext uri="{FF2B5EF4-FFF2-40B4-BE49-F238E27FC236}">
                    <a16:creationId xmlns:a16="http://schemas.microsoft.com/office/drawing/2014/main" id="{06DEC892-B842-04F9-2F54-5D10244220C1}"/>
                  </a:ext>
                </a:extLst>
              </p:cNvPr>
              <p:cNvSpPr txBox="1"/>
              <p:nvPr/>
            </p:nvSpPr>
            <p:spPr>
              <a:xfrm>
                <a:off x="963736" y="4967997"/>
                <a:ext cx="150214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 err="1"/>
                  <a:t>Erni</a:t>
                </a:r>
                <a:r>
                  <a:rPr lang="es-ES" sz="1400" dirty="0"/>
                  <a:t> </a:t>
                </a:r>
                <a:r>
                  <a:rPr lang="es-ES" sz="1400" dirty="0" err="1"/>
                  <a:t>Voltron</a:t>
                </a:r>
                <a:endParaRPr lang="es-ES" sz="1400" dirty="0"/>
              </a:p>
            </p:txBody>
          </p:sp>
          <p:sp>
            <p:nvSpPr>
              <p:cNvPr id="52" name="CuadroTexto 51">
                <a:extLst>
                  <a:ext uri="{FF2B5EF4-FFF2-40B4-BE49-F238E27FC236}">
                    <a16:creationId xmlns:a16="http://schemas.microsoft.com/office/drawing/2014/main" id="{C0843A4E-1FFC-1AFB-FEE1-0E6EC63C31F6}"/>
                  </a:ext>
                </a:extLst>
              </p:cNvPr>
              <p:cNvSpPr txBox="1"/>
              <p:nvPr/>
            </p:nvSpPr>
            <p:spPr>
              <a:xfrm>
                <a:off x="2585803" y="4954727"/>
                <a:ext cx="22110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400" dirty="0" err="1"/>
                  <a:t>Erni</a:t>
                </a:r>
                <a:r>
                  <a:rPr lang="es-ES" sz="1400" dirty="0"/>
                  <a:t> Industrial</a:t>
                </a:r>
              </a:p>
            </p:txBody>
          </p:sp>
        </p:grpSp>
        <p:sp>
          <p:nvSpPr>
            <p:cNvPr id="58" name="Explosión: 8 puntos 57">
              <a:extLst>
                <a:ext uri="{FF2B5EF4-FFF2-40B4-BE49-F238E27FC236}">
                  <a16:creationId xmlns:a16="http://schemas.microsoft.com/office/drawing/2014/main" id="{997B2411-2D41-C010-1941-BF6C34497887}"/>
                </a:ext>
              </a:extLst>
            </p:cNvPr>
            <p:cNvSpPr/>
            <p:nvPr/>
          </p:nvSpPr>
          <p:spPr>
            <a:xfrm>
              <a:off x="546736" y="5662225"/>
              <a:ext cx="773889" cy="566800"/>
            </a:xfrm>
            <a:prstGeom prst="irregularSeal1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800" b="1" dirty="0"/>
                <a:t>N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4362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CAE8B98-5852-7ED0-A76A-90F8E8DCE2E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7200" y="1752942"/>
            <a:ext cx="3302000" cy="3480954"/>
          </a:xfrm>
        </p:spPr>
        <p:txBody>
          <a:bodyPr/>
          <a:lstStyle/>
          <a:p>
            <a:r>
              <a:rPr lang="de-DE" sz="2000" b="1" dirty="0">
                <a:solidFill>
                  <a:srgbClr val="F1931C"/>
                </a:solidFill>
              </a:rPr>
              <a:t>Bess &amp; EVI</a:t>
            </a: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2ECAB-6DCF-FB54-C029-45626BFC7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G‘S &amp; PRODUCTS (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6CC66F-2FC7-B668-EB41-09B94EEA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2A83E35-2F40-C2E7-95DC-8747167F1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755" y="2282823"/>
            <a:ext cx="2583590" cy="3016516"/>
          </a:xfrm>
          <a:prstGeom prst="rect">
            <a:avLst/>
          </a:prstGeom>
        </p:spPr>
      </p:pic>
      <p:grpSp>
        <p:nvGrpSpPr>
          <p:cNvPr id="29" name="Grupo 28">
            <a:extLst>
              <a:ext uri="{FF2B5EF4-FFF2-40B4-BE49-F238E27FC236}">
                <a16:creationId xmlns:a16="http://schemas.microsoft.com/office/drawing/2014/main" id="{1B19C0A3-8861-0F02-1718-81EE30C496EA}"/>
              </a:ext>
            </a:extLst>
          </p:cNvPr>
          <p:cNvGrpSpPr/>
          <p:nvPr/>
        </p:nvGrpSpPr>
        <p:grpSpPr>
          <a:xfrm>
            <a:off x="3971089" y="592907"/>
            <a:ext cx="7275019" cy="2900512"/>
            <a:chOff x="3971089" y="592907"/>
            <a:chExt cx="7275019" cy="2900512"/>
          </a:xfrm>
        </p:grpSpPr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12055BB0-68DD-3467-5204-C853D6671199}"/>
                </a:ext>
              </a:extLst>
            </p:cNvPr>
            <p:cNvGrpSpPr/>
            <p:nvPr/>
          </p:nvGrpSpPr>
          <p:grpSpPr>
            <a:xfrm>
              <a:off x="3971089" y="592907"/>
              <a:ext cx="7275019" cy="1689916"/>
              <a:chOff x="4692711" y="169015"/>
              <a:chExt cx="6164722" cy="1463684"/>
            </a:xfrm>
          </p:grpSpPr>
          <p:pic>
            <p:nvPicPr>
              <p:cNvPr id="9" name="Imagen 8">
                <a:extLst>
                  <a:ext uri="{FF2B5EF4-FFF2-40B4-BE49-F238E27FC236}">
                    <a16:creationId xmlns:a16="http://schemas.microsoft.com/office/drawing/2014/main" id="{E2F6DCDC-D14E-70EF-C694-36911567CF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301479" y="169015"/>
                <a:ext cx="5555954" cy="1463684"/>
              </a:xfrm>
              <a:prstGeom prst="rect">
                <a:avLst/>
              </a:prstGeom>
            </p:spPr>
          </p:pic>
          <p:sp>
            <p:nvSpPr>
              <p:cNvPr id="10" name="Explosión: 8 puntos 9">
                <a:extLst>
                  <a:ext uri="{FF2B5EF4-FFF2-40B4-BE49-F238E27FC236}">
                    <a16:creationId xmlns:a16="http://schemas.microsoft.com/office/drawing/2014/main" id="{FA1F2786-CDF7-729A-F388-B435B8F37BF8}"/>
                  </a:ext>
                </a:extLst>
              </p:cNvPr>
              <p:cNvSpPr/>
              <p:nvPr/>
            </p:nvSpPr>
            <p:spPr>
              <a:xfrm>
                <a:off x="4692711" y="443914"/>
                <a:ext cx="1008399" cy="787364"/>
              </a:xfrm>
              <a:prstGeom prst="irregularSeal1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200" b="1" dirty="0"/>
                  <a:t>NEW</a:t>
                </a:r>
              </a:p>
            </p:txBody>
          </p:sp>
        </p:grpSp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73A970D7-75A8-3ABB-15BE-B7480D026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73230" y="2352207"/>
              <a:ext cx="6072878" cy="1141212"/>
            </a:xfrm>
            <a:prstGeom prst="rect">
              <a:avLst/>
            </a:prstGeom>
          </p:spPr>
        </p:pic>
      </p:grpSp>
      <p:grpSp>
        <p:nvGrpSpPr>
          <p:cNvPr id="49" name="Grupo 48">
            <a:extLst>
              <a:ext uri="{FF2B5EF4-FFF2-40B4-BE49-F238E27FC236}">
                <a16:creationId xmlns:a16="http://schemas.microsoft.com/office/drawing/2014/main" id="{A40374B2-E462-F82F-F28C-5DAE246B3BA6}"/>
              </a:ext>
            </a:extLst>
          </p:cNvPr>
          <p:cNvGrpSpPr/>
          <p:nvPr/>
        </p:nvGrpSpPr>
        <p:grpSpPr>
          <a:xfrm>
            <a:off x="2974162" y="3571590"/>
            <a:ext cx="9108422" cy="1467054"/>
            <a:chOff x="2974162" y="3571590"/>
            <a:chExt cx="9108422" cy="1467054"/>
          </a:xfrm>
        </p:grpSpPr>
        <p:grpSp>
          <p:nvGrpSpPr>
            <p:cNvPr id="33" name="Grupo 32">
              <a:extLst>
                <a:ext uri="{FF2B5EF4-FFF2-40B4-BE49-F238E27FC236}">
                  <a16:creationId xmlns:a16="http://schemas.microsoft.com/office/drawing/2014/main" id="{9B59DD2F-1805-587F-75E9-06FB3F5C98D4}"/>
                </a:ext>
              </a:extLst>
            </p:cNvPr>
            <p:cNvGrpSpPr/>
            <p:nvPr/>
          </p:nvGrpSpPr>
          <p:grpSpPr>
            <a:xfrm>
              <a:off x="4336754" y="3571590"/>
              <a:ext cx="7745830" cy="1467054"/>
              <a:chOff x="4043714" y="3571590"/>
              <a:chExt cx="7745830" cy="1467054"/>
            </a:xfrm>
          </p:grpSpPr>
          <p:pic>
            <p:nvPicPr>
              <p:cNvPr id="20" name="Imagen 19">
                <a:extLst>
                  <a:ext uri="{FF2B5EF4-FFF2-40B4-BE49-F238E27FC236}">
                    <a16:creationId xmlns:a16="http://schemas.microsoft.com/office/drawing/2014/main" id="{C3129DEE-AC30-886C-7794-2353A38F75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043714" y="3571590"/>
                <a:ext cx="6601746" cy="1467054"/>
              </a:xfrm>
              <a:prstGeom prst="rect">
                <a:avLst/>
              </a:prstGeom>
            </p:spPr>
          </p:pic>
          <p:sp>
            <p:nvSpPr>
              <p:cNvPr id="31" name="Explosión: 8 puntos 30">
                <a:extLst>
                  <a:ext uri="{FF2B5EF4-FFF2-40B4-BE49-F238E27FC236}">
                    <a16:creationId xmlns:a16="http://schemas.microsoft.com/office/drawing/2014/main" id="{B063DB58-C1FB-19F0-F967-DFD032C42006}"/>
                  </a:ext>
                </a:extLst>
              </p:cNvPr>
              <p:cNvSpPr/>
              <p:nvPr/>
            </p:nvSpPr>
            <p:spPr>
              <a:xfrm>
                <a:off x="10599527" y="3953053"/>
                <a:ext cx="1190017" cy="909062"/>
              </a:xfrm>
              <a:prstGeom prst="irregularSeal1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1200" b="1" dirty="0"/>
                  <a:t>NEW</a:t>
                </a:r>
              </a:p>
            </p:txBody>
          </p:sp>
        </p:grpSp>
        <p:sp>
          <p:nvSpPr>
            <p:cNvPr id="35" name="CuadroTexto 34">
              <a:extLst>
                <a:ext uri="{FF2B5EF4-FFF2-40B4-BE49-F238E27FC236}">
                  <a16:creationId xmlns:a16="http://schemas.microsoft.com/office/drawing/2014/main" id="{88024DDA-E2F8-D17B-DD33-B27E2C74D18C}"/>
                </a:ext>
              </a:extLst>
            </p:cNvPr>
            <p:cNvSpPr txBox="1"/>
            <p:nvPr/>
          </p:nvSpPr>
          <p:spPr>
            <a:xfrm>
              <a:off x="2974162" y="3943706"/>
              <a:ext cx="136259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600" dirty="0"/>
                <a:t>DC CHARGERS</a:t>
              </a:r>
            </a:p>
          </p:txBody>
        </p:sp>
      </p:grpSp>
      <p:grpSp>
        <p:nvGrpSpPr>
          <p:cNvPr id="57" name="Grupo 56">
            <a:extLst>
              <a:ext uri="{FF2B5EF4-FFF2-40B4-BE49-F238E27FC236}">
                <a16:creationId xmlns:a16="http://schemas.microsoft.com/office/drawing/2014/main" id="{2EA1D36E-1B90-7F13-A4A4-54CE01F91127}"/>
              </a:ext>
            </a:extLst>
          </p:cNvPr>
          <p:cNvGrpSpPr/>
          <p:nvPr/>
        </p:nvGrpSpPr>
        <p:grpSpPr>
          <a:xfrm>
            <a:off x="4162789" y="5203937"/>
            <a:ext cx="7207945" cy="1328408"/>
            <a:chOff x="4162789" y="5203937"/>
            <a:chExt cx="7207945" cy="1328408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5BB77BA4-167F-6C4E-A1A2-7E912287FAE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525381" y="5203937"/>
              <a:ext cx="5845353" cy="1328408"/>
            </a:xfrm>
            <a:prstGeom prst="rect">
              <a:avLst/>
            </a:prstGeom>
          </p:spPr>
        </p:pic>
        <p:sp>
          <p:nvSpPr>
            <p:cNvPr id="56" name="CuadroTexto 55">
              <a:extLst>
                <a:ext uri="{FF2B5EF4-FFF2-40B4-BE49-F238E27FC236}">
                  <a16:creationId xmlns:a16="http://schemas.microsoft.com/office/drawing/2014/main" id="{E34EA7E5-8D08-9F75-7882-7EBE0DC92415}"/>
                </a:ext>
              </a:extLst>
            </p:cNvPr>
            <p:cNvSpPr txBox="1"/>
            <p:nvPr/>
          </p:nvSpPr>
          <p:spPr>
            <a:xfrm>
              <a:off x="4162789" y="5575753"/>
              <a:ext cx="136259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600" dirty="0"/>
                <a:t>AC CHARG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5138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CAE8B98-5852-7ED0-A76A-90F8E8DCE2E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7200" y="1752942"/>
            <a:ext cx="3302000" cy="3480954"/>
          </a:xfrm>
        </p:spPr>
        <p:txBody>
          <a:bodyPr/>
          <a:lstStyle/>
          <a:p>
            <a:r>
              <a:rPr lang="de-DE" sz="2000" b="1" dirty="0">
                <a:solidFill>
                  <a:srgbClr val="F1931C"/>
                </a:solidFill>
              </a:rPr>
              <a:t>Bess &amp; EVI</a:t>
            </a: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2ECAB-6DCF-FB54-C029-45626BFC7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G‘S &amp; PRODUCTS (3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6CC66F-2FC7-B668-EB41-09B94EEA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2A83E35-2F40-C2E7-95DC-8747167F1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755" y="2282823"/>
            <a:ext cx="2583590" cy="301651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EFBB12DA-C20E-450D-D27F-ACE9F3544132}"/>
              </a:ext>
            </a:extLst>
          </p:cNvPr>
          <p:cNvSpPr txBox="1"/>
          <p:nvPr/>
        </p:nvSpPr>
        <p:spPr>
          <a:xfrm>
            <a:off x="5044190" y="1104130"/>
            <a:ext cx="57187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HDC BESS STACKED </a:t>
            </a:r>
            <a:r>
              <a:rPr lang="es-ES" dirty="0" err="1"/>
              <a:t>Connectors</a:t>
            </a:r>
            <a:endParaRPr lang="es-ES" dirty="0"/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0B29110D-4BAC-3C34-D0BB-30E0EBF5611F}"/>
              </a:ext>
            </a:extLst>
          </p:cNvPr>
          <p:cNvGrpSpPr/>
          <p:nvPr/>
        </p:nvGrpSpPr>
        <p:grpSpPr>
          <a:xfrm>
            <a:off x="3634273" y="1647666"/>
            <a:ext cx="2132514" cy="3651673"/>
            <a:chOff x="4912350" y="1647666"/>
            <a:chExt cx="2132514" cy="3651673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CF914C22-87E3-0652-BC17-0A88643597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912350" y="4506209"/>
              <a:ext cx="1406004" cy="793130"/>
            </a:xfrm>
            <a:prstGeom prst="rect">
              <a:avLst/>
            </a:prstGeom>
          </p:spPr>
        </p:pic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9914B393-0400-D220-F822-51E658E86686}"/>
                </a:ext>
              </a:extLst>
            </p:cNvPr>
            <p:cNvGrpSpPr/>
            <p:nvPr/>
          </p:nvGrpSpPr>
          <p:grpSpPr>
            <a:xfrm>
              <a:off x="5076094" y="1647666"/>
              <a:ext cx="1968770" cy="2951174"/>
              <a:chOff x="5076094" y="1647666"/>
              <a:chExt cx="1968770" cy="2951174"/>
            </a:xfrm>
          </p:grpSpPr>
          <p:pic>
            <p:nvPicPr>
              <p:cNvPr id="8" name="Imagen 7">
                <a:extLst>
                  <a:ext uri="{FF2B5EF4-FFF2-40B4-BE49-F238E27FC236}">
                    <a16:creationId xmlns:a16="http://schemas.microsoft.com/office/drawing/2014/main" id="{E5A2ECC1-1E33-B02A-C488-1110D2B550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076094" y="2038661"/>
                <a:ext cx="1968770" cy="2560179"/>
              </a:xfrm>
              <a:prstGeom prst="rect">
                <a:avLst/>
              </a:prstGeom>
            </p:spPr>
          </p:pic>
          <p:sp>
            <p:nvSpPr>
              <p:cNvPr id="12" name="CuadroTexto 11">
                <a:extLst>
                  <a:ext uri="{FF2B5EF4-FFF2-40B4-BE49-F238E27FC236}">
                    <a16:creationId xmlns:a16="http://schemas.microsoft.com/office/drawing/2014/main" id="{F30B7B5E-0EE3-F436-4CD4-55AB931F630E}"/>
                  </a:ext>
                </a:extLst>
              </p:cNvPr>
              <p:cNvSpPr txBox="1"/>
              <p:nvPr/>
            </p:nvSpPr>
            <p:spPr>
              <a:xfrm>
                <a:off x="5076094" y="1647666"/>
                <a:ext cx="17042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/>
                  <a:t>HPC 200A</a:t>
                </a:r>
              </a:p>
            </p:txBody>
          </p:sp>
        </p:grpSp>
      </p:grpSp>
      <p:grpSp>
        <p:nvGrpSpPr>
          <p:cNvPr id="23" name="Grupo 22">
            <a:extLst>
              <a:ext uri="{FF2B5EF4-FFF2-40B4-BE49-F238E27FC236}">
                <a16:creationId xmlns:a16="http://schemas.microsoft.com/office/drawing/2014/main" id="{D354227D-E7F7-3095-EA0F-0F884055589D}"/>
              </a:ext>
            </a:extLst>
          </p:cNvPr>
          <p:cNvGrpSpPr/>
          <p:nvPr/>
        </p:nvGrpSpPr>
        <p:grpSpPr>
          <a:xfrm>
            <a:off x="6394095" y="1640882"/>
            <a:ext cx="4176158" cy="4029625"/>
            <a:chOff x="7125213" y="1724245"/>
            <a:chExt cx="4176158" cy="4029625"/>
          </a:xfrm>
        </p:grpSpPr>
        <p:sp>
          <p:nvSpPr>
            <p:cNvPr id="10" name="Explosión: 8 puntos 9">
              <a:extLst>
                <a:ext uri="{FF2B5EF4-FFF2-40B4-BE49-F238E27FC236}">
                  <a16:creationId xmlns:a16="http://schemas.microsoft.com/office/drawing/2014/main" id="{FA1F2786-CDF7-729A-F388-B435B8F37BF8}"/>
                </a:ext>
              </a:extLst>
            </p:cNvPr>
            <p:cNvSpPr/>
            <p:nvPr/>
          </p:nvSpPr>
          <p:spPr>
            <a:xfrm>
              <a:off x="8616137" y="4844808"/>
              <a:ext cx="1190017" cy="909062"/>
            </a:xfrm>
            <a:prstGeom prst="irregularSeal1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dirty="0"/>
                <a:t>NEW</a:t>
              </a:r>
            </a:p>
          </p:txBody>
        </p: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DA649CF8-FFD0-A3A7-0EB5-258E66C6F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125213" y="2071914"/>
              <a:ext cx="1943950" cy="2356068"/>
            </a:xfrm>
            <a:prstGeom prst="rect">
              <a:avLst/>
            </a:prstGeom>
          </p:spPr>
        </p:pic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9BC294DA-CA09-3064-42E1-1B9159A5E6FD}"/>
                </a:ext>
              </a:extLst>
            </p:cNvPr>
            <p:cNvSpPr txBox="1"/>
            <p:nvPr/>
          </p:nvSpPr>
          <p:spPr>
            <a:xfrm>
              <a:off x="7257580" y="1724245"/>
              <a:ext cx="1704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/>
                <a:t>HPC 250A</a:t>
              </a:r>
            </a:p>
          </p:txBody>
        </p:sp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22470857-DE83-D127-7EC0-1646315F7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03223" y="4506209"/>
              <a:ext cx="1012914" cy="595832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65FE943D-9F42-7943-98C1-F93688759FE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520383" y="2169598"/>
              <a:ext cx="1780988" cy="2241950"/>
            </a:xfrm>
            <a:prstGeom prst="rect">
              <a:avLst/>
            </a:prstGeom>
          </p:spPr>
        </p:pic>
        <p:pic>
          <p:nvPicPr>
            <p:cNvPr id="21" name="Imagen 20">
              <a:extLst>
                <a:ext uri="{FF2B5EF4-FFF2-40B4-BE49-F238E27FC236}">
                  <a16:creationId xmlns:a16="http://schemas.microsoft.com/office/drawing/2014/main" id="{FD12A265-3957-9200-3598-EFBE0F4982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53669" y="4401910"/>
              <a:ext cx="1012914" cy="667292"/>
            </a:xfrm>
            <a:prstGeom prst="rect">
              <a:avLst/>
            </a:prstGeom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C41B7766-F9C6-3FDF-176C-5A48F4E34A55}"/>
                </a:ext>
              </a:extLst>
            </p:cNvPr>
            <p:cNvSpPr txBox="1"/>
            <p:nvPr/>
          </p:nvSpPr>
          <p:spPr>
            <a:xfrm>
              <a:off x="9558777" y="1749220"/>
              <a:ext cx="1704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/>
                <a:t>HPC 350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4823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CAE8B98-5852-7ED0-A76A-90F8E8DCE2E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7200" y="1384471"/>
            <a:ext cx="3302000" cy="4089058"/>
          </a:xfrm>
        </p:spPr>
        <p:txBody>
          <a:bodyPr/>
          <a:lstStyle/>
          <a:p>
            <a:r>
              <a:rPr lang="de-DE" sz="2000" b="1" dirty="0">
                <a:solidFill>
                  <a:srgbClr val="F1931C"/>
                </a:solidFill>
              </a:rPr>
              <a:t>Bess &amp; EVI:</a:t>
            </a:r>
          </a:p>
          <a:p>
            <a:r>
              <a:rPr lang="de-DE" sz="2000" b="1" dirty="0">
                <a:solidFill>
                  <a:srgbClr val="F1931C"/>
                </a:solidFill>
              </a:rPr>
              <a:t>Associated products</a:t>
            </a: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sz="2000" b="1" dirty="0">
              <a:solidFill>
                <a:srgbClr val="F1931C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2ECAB-6DCF-FB54-C029-45626BFC7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G‘S &amp; PRODUCTS (4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6CC66F-2FC7-B668-EB41-09B94EEA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2A83E35-2F40-C2E7-95DC-8747167F16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568" y="2156131"/>
            <a:ext cx="2583590" cy="3016516"/>
          </a:xfrm>
          <a:prstGeom prst="rect">
            <a:avLst/>
          </a:prstGeom>
        </p:spPr>
      </p:pic>
      <p:grpSp>
        <p:nvGrpSpPr>
          <p:cNvPr id="19" name="Grupo 18">
            <a:extLst>
              <a:ext uri="{FF2B5EF4-FFF2-40B4-BE49-F238E27FC236}">
                <a16:creationId xmlns:a16="http://schemas.microsoft.com/office/drawing/2014/main" id="{07581BA1-B6FC-FACD-040D-7DB715DFEB00}"/>
              </a:ext>
            </a:extLst>
          </p:cNvPr>
          <p:cNvGrpSpPr/>
          <p:nvPr/>
        </p:nvGrpSpPr>
        <p:grpSpPr>
          <a:xfrm>
            <a:off x="3852337" y="669964"/>
            <a:ext cx="7442196" cy="4606165"/>
            <a:chOff x="3852337" y="669964"/>
            <a:chExt cx="7442196" cy="4606165"/>
          </a:xfrm>
        </p:grpSpPr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16734FAD-4CC5-5608-A925-8ABCB4D15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88666" y="915305"/>
              <a:ext cx="6824867" cy="1545486"/>
            </a:xfrm>
            <a:prstGeom prst="rect">
              <a:avLst/>
            </a:prstGeom>
          </p:spPr>
        </p:pic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0B689116-689B-D61E-C514-07D2EC7490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58455" y="2551065"/>
              <a:ext cx="7336078" cy="1248020"/>
            </a:xfrm>
            <a:prstGeom prst="rect">
              <a:avLst/>
            </a:prstGeom>
          </p:spPr>
        </p:pic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EC2DA6C3-D71B-71E5-003E-2F1F72182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52337" y="3920435"/>
              <a:ext cx="7442196" cy="1355694"/>
            </a:xfrm>
            <a:prstGeom prst="rect">
              <a:avLst/>
            </a:prstGeom>
          </p:spPr>
        </p:pic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0A92D54C-0C77-F2B2-855A-D5C6DB11AA06}"/>
                </a:ext>
              </a:extLst>
            </p:cNvPr>
            <p:cNvSpPr txBox="1"/>
            <p:nvPr/>
          </p:nvSpPr>
          <p:spPr>
            <a:xfrm>
              <a:off x="6585223" y="669964"/>
              <a:ext cx="273739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err="1"/>
                <a:t>Board</a:t>
              </a:r>
              <a:r>
                <a:rPr lang="es-ES" dirty="0"/>
                <a:t> </a:t>
              </a:r>
              <a:r>
                <a:rPr lang="es-ES" dirty="0" err="1"/>
                <a:t>signal</a:t>
              </a:r>
              <a:r>
                <a:rPr lang="es-ES" dirty="0"/>
                <a:t> </a:t>
              </a:r>
              <a:r>
                <a:rPr lang="es-ES" dirty="0" err="1"/>
                <a:t>connectors</a:t>
              </a:r>
              <a:endParaRPr lang="es-ES" dirty="0"/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0C2DE7D-6F80-F294-306C-5013BB39BA96}"/>
              </a:ext>
            </a:extLst>
          </p:cNvPr>
          <p:cNvGrpSpPr/>
          <p:nvPr/>
        </p:nvGrpSpPr>
        <p:grpSpPr>
          <a:xfrm>
            <a:off x="5681133" y="5356541"/>
            <a:ext cx="6062134" cy="1183026"/>
            <a:chOff x="3759200" y="5395290"/>
            <a:chExt cx="6935167" cy="1183026"/>
          </a:xfrm>
        </p:grpSpPr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C4949DD6-8E60-7D11-A3CE-E053A880FC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759200" y="5395290"/>
              <a:ext cx="5474783" cy="1183026"/>
            </a:xfrm>
            <a:prstGeom prst="rect">
              <a:avLst/>
            </a:prstGeom>
          </p:spPr>
        </p:pic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45B9E0F4-8E46-8421-8DC9-0231F894232A}"/>
                </a:ext>
              </a:extLst>
            </p:cNvPr>
            <p:cNvSpPr txBox="1"/>
            <p:nvPr/>
          </p:nvSpPr>
          <p:spPr>
            <a:xfrm>
              <a:off x="9322615" y="5663637"/>
              <a:ext cx="13717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400" dirty="0" err="1"/>
                <a:t>Power</a:t>
              </a:r>
              <a:r>
                <a:rPr lang="es-ES" sz="1400" dirty="0"/>
                <a:t> </a:t>
              </a:r>
              <a:r>
                <a:rPr lang="es-ES" sz="1400" dirty="0" err="1"/>
                <a:t>Resistors</a:t>
              </a:r>
              <a:endParaRPr lang="es-ES" sz="1400" dirty="0"/>
            </a:p>
          </p:txBody>
        </p:sp>
      </p:grpSp>
      <p:grpSp>
        <p:nvGrpSpPr>
          <p:cNvPr id="26" name="Grupo 25">
            <a:extLst>
              <a:ext uri="{FF2B5EF4-FFF2-40B4-BE49-F238E27FC236}">
                <a16:creationId xmlns:a16="http://schemas.microsoft.com/office/drawing/2014/main" id="{4ADC73A2-FCD5-BAE9-91F7-49C32E3FBB18}"/>
              </a:ext>
            </a:extLst>
          </p:cNvPr>
          <p:cNvGrpSpPr/>
          <p:nvPr/>
        </p:nvGrpSpPr>
        <p:grpSpPr>
          <a:xfrm>
            <a:off x="668098" y="5356541"/>
            <a:ext cx="4337701" cy="1059591"/>
            <a:chOff x="668098" y="5356541"/>
            <a:chExt cx="4337701" cy="1059591"/>
          </a:xfrm>
        </p:grpSpPr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80CDD401-50D0-9F12-DC7D-FDF82660A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8098" y="5356541"/>
              <a:ext cx="4337701" cy="1059591"/>
            </a:xfrm>
            <a:prstGeom prst="rect">
              <a:avLst/>
            </a:prstGeom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0CF1714D-927D-2500-C9F5-F2BE0F9AB82E}"/>
                </a:ext>
              </a:extLst>
            </p:cNvPr>
            <p:cNvSpPr txBox="1"/>
            <p:nvPr/>
          </p:nvSpPr>
          <p:spPr>
            <a:xfrm>
              <a:off x="2599267" y="5356541"/>
              <a:ext cx="124856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400" dirty="0"/>
                <a:t>Switch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9536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CAE8B98-5852-7ED0-A76A-90F8E8DCE2E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7200" y="1384471"/>
            <a:ext cx="3302000" cy="4089058"/>
          </a:xfrm>
        </p:spPr>
        <p:txBody>
          <a:bodyPr/>
          <a:lstStyle/>
          <a:p>
            <a:r>
              <a:rPr lang="de-DE" sz="2000" b="1" dirty="0">
                <a:solidFill>
                  <a:srgbClr val="F1931C"/>
                </a:solidFill>
              </a:rPr>
              <a:t>Outdoor lighting:</a:t>
            </a: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sz="2000" b="1" dirty="0">
              <a:solidFill>
                <a:srgbClr val="F1931C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2ECAB-6DCF-FB54-C029-45626BFC7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G‘S &amp; PRODUCTS (5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6CC66F-2FC7-B668-EB41-09B94EEA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6</a:t>
            </a:fld>
            <a:endParaRPr lang="de-DE" dirty="0"/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E5ABB7D9-90A1-54FE-6F34-2E30C2EC4C2B}"/>
              </a:ext>
            </a:extLst>
          </p:cNvPr>
          <p:cNvGrpSpPr/>
          <p:nvPr/>
        </p:nvGrpSpPr>
        <p:grpSpPr>
          <a:xfrm>
            <a:off x="3801255" y="905933"/>
            <a:ext cx="7044545" cy="1436849"/>
            <a:chOff x="3801255" y="905933"/>
            <a:chExt cx="7044545" cy="1436849"/>
          </a:xfrm>
        </p:grpSpPr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9E5ED9CD-5BA6-03CF-3707-5E902319B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1255" y="905933"/>
              <a:ext cx="5723745" cy="1436849"/>
            </a:xfrm>
            <a:prstGeom prst="rect">
              <a:avLst/>
            </a:prstGeom>
          </p:spPr>
        </p:pic>
        <p:sp>
          <p:nvSpPr>
            <p:cNvPr id="31" name="CuadroTexto 30">
              <a:extLst>
                <a:ext uri="{FF2B5EF4-FFF2-40B4-BE49-F238E27FC236}">
                  <a16:creationId xmlns:a16="http://schemas.microsoft.com/office/drawing/2014/main" id="{4165EE31-8353-B7ED-71A1-83891ECC7B8D}"/>
                </a:ext>
              </a:extLst>
            </p:cNvPr>
            <p:cNvSpPr txBox="1"/>
            <p:nvPr/>
          </p:nvSpPr>
          <p:spPr>
            <a:xfrm>
              <a:off x="9525000" y="1320800"/>
              <a:ext cx="13208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/>
                <a:t>Nema</a:t>
              </a:r>
            </a:p>
          </p:txBody>
        </p:sp>
      </p:grpSp>
      <p:grpSp>
        <p:nvGrpSpPr>
          <p:cNvPr id="39" name="Grupo 38">
            <a:extLst>
              <a:ext uri="{FF2B5EF4-FFF2-40B4-BE49-F238E27FC236}">
                <a16:creationId xmlns:a16="http://schemas.microsoft.com/office/drawing/2014/main" id="{9F432CD2-3861-85D4-7D78-96E2B4820B5B}"/>
              </a:ext>
            </a:extLst>
          </p:cNvPr>
          <p:cNvGrpSpPr/>
          <p:nvPr/>
        </p:nvGrpSpPr>
        <p:grpSpPr>
          <a:xfrm>
            <a:off x="3759200" y="3702671"/>
            <a:ext cx="7882467" cy="1311711"/>
            <a:chOff x="3759200" y="3702671"/>
            <a:chExt cx="7882467" cy="1311711"/>
          </a:xfrm>
        </p:grpSpPr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F14BFBB1-7034-283C-02E4-CCDDCFEFB5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59200" y="3702671"/>
              <a:ext cx="6273400" cy="1311711"/>
            </a:xfrm>
            <a:prstGeom prst="rect">
              <a:avLst/>
            </a:prstGeom>
          </p:spPr>
        </p:pic>
        <p:sp>
          <p:nvSpPr>
            <p:cNvPr id="33" name="CuadroTexto 32">
              <a:extLst>
                <a:ext uri="{FF2B5EF4-FFF2-40B4-BE49-F238E27FC236}">
                  <a16:creationId xmlns:a16="http://schemas.microsoft.com/office/drawing/2014/main" id="{A8267E31-9CD7-31A2-E3F7-46C6DAFBBF1D}"/>
                </a:ext>
              </a:extLst>
            </p:cNvPr>
            <p:cNvSpPr txBox="1"/>
            <p:nvPr/>
          </p:nvSpPr>
          <p:spPr>
            <a:xfrm>
              <a:off x="10032600" y="4123267"/>
              <a:ext cx="16090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/>
                <a:t>Accesories</a:t>
              </a:r>
            </a:p>
          </p:txBody>
        </p:sp>
      </p:grpSp>
      <p:pic>
        <p:nvPicPr>
          <p:cNvPr id="36" name="Imagen 35">
            <a:extLst>
              <a:ext uri="{FF2B5EF4-FFF2-40B4-BE49-F238E27FC236}">
                <a16:creationId xmlns:a16="http://schemas.microsoft.com/office/drawing/2014/main" id="{6A36AB24-7AC2-0F79-388B-3E1C711652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852" y="2342782"/>
            <a:ext cx="2474203" cy="2991411"/>
          </a:xfrm>
          <a:prstGeom prst="rect">
            <a:avLst/>
          </a:prstGeom>
        </p:spPr>
      </p:pic>
      <p:grpSp>
        <p:nvGrpSpPr>
          <p:cNvPr id="47" name="Grupo 46">
            <a:extLst>
              <a:ext uri="{FF2B5EF4-FFF2-40B4-BE49-F238E27FC236}">
                <a16:creationId xmlns:a16="http://schemas.microsoft.com/office/drawing/2014/main" id="{6054A57B-88B1-83F9-3C1D-A60AF154A179}"/>
              </a:ext>
            </a:extLst>
          </p:cNvPr>
          <p:cNvGrpSpPr/>
          <p:nvPr/>
        </p:nvGrpSpPr>
        <p:grpSpPr>
          <a:xfrm>
            <a:off x="2920307" y="2403049"/>
            <a:ext cx="8052493" cy="1299622"/>
            <a:chOff x="2920307" y="2403049"/>
            <a:chExt cx="8052493" cy="1299622"/>
          </a:xfrm>
        </p:grpSpPr>
        <p:grpSp>
          <p:nvGrpSpPr>
            <p:cNvPr id="38" name="Grupo 37">
              <a:extLst>
                <a:ext uri="{FF2B5EF4-FFF2-40B4-BE49-F238E27FC236}">
                  <a16:creationId xmlns:a16="http://schemas.microsoft.com/office/drawing/2014/main" id="{BB9F278A-2147-BACE-DD3D-28F2F1C80CC2}"/>
                </a:ext>
              </a:extLst>
            </p:cNvPr>
            <p:cNvGrpSpPr/>
            <p:nvPr/>
          </p:nvGrpSpPr>
          <p:grpSpPr>
            <a:xfrm>
              <a:off x="3759200" y="2445763"/>
              <a:ext cx="7213600" cy="1256908"/>
              <a:chOff x="3759200" y="2445763"/>
              <a:chExt cx="7213600" cy="1256908"/>
            </a:xfrm>
          </p:grpSpPr>
          <p:pic>
            <p:nvPicPr>
              <p:cNvPr id="26" name="Imagen 25">
                <a:extLst>
                  <a:ext uri="{FF2B5EF4-FFF2-40B4-BE49-F238E27FC236}">
                    <a16:creationId xmlns:a16="http://schemas.microsoft.com/office/drawing/2014/main" id="{89C23609-25AC-D991-5342-B02263E3C6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759200" y="2445763"/>
                <a:ext cx="6029516" cy="1256908"/>
              </a:xfrm>
              <a:prstGeom prst="rect">
                <a:avLst/>
              </a:prstGeom>
            </p:spPr>
          </p:pic>
          <p:sp>
            <p:nvSpPr>
              <p:cNvPr id="32" name="CuadroTexto 31">
                <a:extLst>
                  <a:ext uri="{FF2B5EF4-FFF2-40B4-BE49-F238E27FC236}">
                    <a16:creationId xmlns:a16="http://schemas.microsoft.com/office/drawing/2014/main" id="{E404F8A7-AED0-51E3-7311-EADAB1EF10FF}"/>
                  </a:ext>
                </a:extLst>
              </p:cNvPr>
              <p:cNvSpPr txBox="1"/>
              <p:nvPr/>
            </p:nvSpPr>
            <p:spPr>
              <a:xfrm>
                <a:off x="9788716" y="2947040"/>
                <a:ext cx="118408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 err="1"/>
                  <a:t>Zhaga</a:t>
                </a:r>
                <a:endParaRPr lang="es-ES" dirty="0"/>
              </a:p>
            </p:txBody>
          </p:sp>
        </p:grpSp>
        <p:sp>
          <p:nvSpPr>
            <p:cNvPr id="45" name="Explosión: 8 puntos 44">
              <a:extLst>
                <a:ext uri="{FF2B5EF4-FFF2-40B4-BE49-F238E27FC236}">
                  <a16:creationId xmlns:a16="http://schemas.microsoft.com/office/drawing/2014/main" id="{E015A176-5E09-D7FD-0D74-0FB295F2AB18}"/>
                </a:ext>
              </a:extLst>
            </p:cNvPr>
            <p:cNvSpPr/>
            <p:nvPr/>
          </p:nvSpPr>
          <p:spPr>
            <a:xfrm>
              <a:off x="2920307" y="2403049"/>
              <a:ext cx="1190017" cy="909062"/>
            </a:xfrm>
            <a:prstGeom prst="irregularSeal1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dirty="0"/>
                <a:t>NEW</a:t>
              </a:r>
            </a:p>
          </p:txBody>
        </p:sp>
      </p:grpSp>
      <p:grpSp>
        <p:nvGrpSpPr>
          <p:cNvPr id="48" name="Grupo 47">
            <a:extLst>
              <a:ext uri="{FF2B5EF4-FFF2-40B4-BE49-F238E27FC236}">
                <a16:creationId xmlns:a16="http://schemas.microsoft.com/office/drawing/2014/main" id="{204738AD-E524-CF24-53C4-AB46B690E2E1}"/>
              </a:ext>
            </a:extLst>
          </p:cNvPr>
          <p:cNvGrpSpPr/>
          <p:nvPr/>
        </p:nvGrpSpPr>
        <p:grpSpPr>
          <a:xfrm>
            <a:off x="2639119" y="5074649"/>
            <a:ext cx="8680814" cy="1256908"/>
            <a:chOff x="2639119" y="5074649"/>
            <a:chExt cx="8680814" cy="1256908"/>
          </a:xfrm>
        </p:grpSpPr>
        <p:grpSp>
          <p:nvGrpSpPr>
            <p:cNvPr id="40" name="Grupo 39">
              <a:extLst>
                <a:ext uri="{FF2B5EF4-FFF2-40B4-BE49-F238E27FC236}">
                  <a16:creationId xmlns:a16="http://schemas.microsoft.com/office/drawing/2014/main" id="{64ABEC77-CF6C-0AA2-617E-527C780D0B67}"/>
                </a:ext>
              </a:extLst>
            </p:cNvPr>
            <p:cNvGrpSpPr/>
            <p:nvPr/>
          </p:nvGrpSpPr>
          <p:grpSpPr>
            <a:xfrm>
              <a:off x="3759200" y="5074649"/>
              <a:ext cx="7560733" cy="1256908"/>
              <a:chOff x="3759200" y="5074649"/>
              <a:chExt cx="7560733" cy="1256908"/>
            </a:xfrm>
          </p:grpSpPr>
          <p:pic>
            <p:nvPicPr>
              <p:cNvPr id="30" name="Imagen 29">
                <a:extLst>
                  <a:ext uri="{FF2B5EF4-FFF2-40B4-BE49-F238E27FC236}">
                    <a16:creationId xmlns:a16="http://schemas.microsoft.com/office/drawing/2014/main" id="{BB8EFD4D-A319-63A0-BBE2-9270C335BF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759200" y="5074649"/>
                <a:ext cx="6387005" cy="1256908"/>
              </a:xfrm>
              <a:prstGeom prst="rect">
                <a:avLst/>
              </a:prstGeom>
            </p:spPr>
          </p:pic>
          <p:sp>
            <p:nvSpPr>
              <p:cNvPr id="34" name="CuadroTexto 33">
                <a:extLst>
                  <a:ext uri="{FF2B5EF4-FFF2-40B4-BE49-F238E27FC236}">
                    <a16:creationId xmlns:a16="http://schemas.microsoft.com/office/drawing/2014/main" id="{9D8E6D9F-ACEB-351D-F97A-8CA22784CA54}"/>
                  </a:ext>
                </a:extLst>
              </p:cNvPr>
              <p:cNvSpPr txBox="1"/>
              <p:nvPr/>
            </p:nvSpPr>
            <p:spPr>
              <a:xfrm>
                <a:off x="10287002" y="5400681"/>
                <a:ext cx="103293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dirty="0" err="1"/>
                  <a:t>Sensors</a:t>
                </a:r>
                <a:endParaRPr lang="es-ES" dirty="0"/>
              </a:p>
            </p:txBody>
          </p:sp>
        </p:grpSp>
        <p:sp>
          <p:nvSpPr>
            <p:cNvPr id="46" name="Explosión: 8 puntos 45">
              <a:extLst>
                <a:ext uri="{FF2B5EF4-FFF2-40B4-BE49-F238E27FC236}">
                  <a16:creationId xmlns:a16="http://schemas.microsoft.com/office/drawing/2014/main" id="{08976305-C4C8-1993-E262-2C47180FE9B4}"/>
                </a:ext>
              </a:extLst>
            </p:cNvPr>
            <p:cNvSpPr/>
            <p:nvPr/>
          </p:nvSpPr>
          <p:spPr>
            <a:xfrm>
              <a:off x="2639119" y="5214278"/>
              <a:ext cx="1190017" cy="909062"/>
            </a:xfrm>
            <a:prstGeom prst="irregularSeal1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dirty="0"/>
                <a:t>N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9904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CAE8B98-5852-7ED0-A76A-90F8E8DCE2E8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57200" y="1384471"/>
            <a:ext cx="3302000" cy="4089058"/>
          </a:xfrm>
        </p:spPr>
        <p:txBody>
          <a:bodyPr/>
          <a:lstStyle/>
          <a:p>
            <a:r>
              <a:rPr lang="de-DE" sz="2000" b="1" dirty="0">
                <a:solidFill>
                  <a:srgbClr val="F1931C"/>
                </a:solidFill>
              </a:rPr>
              <a:t>Outdoor lighting:</a:t>
            </a:r>
          </a:p>
          <a:p>
            <a:r>
              <a:rPr lang="de-DE" sz="2000" b="1" dirty="0">
                <a:solidFill>
                  <a:srgbClr val="F1931C"/>
                </a:solidFill>
              </a:rPr>
              <a:t>Associated products</a:t>
            </a: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sz="2000" b="1" dirty="0">
              <a:solidFill>
                <a:srgbClr val="F1931C"/>
              </a:solidFill>
            </a:endParaRPr>
          </a:p>
          <a:p>
            <a:endParaRPr lang="de-DE" sz="2000" b="1" dirty="0">
              <a:solidFill>
                <a:srgbClr val="F1931C"/>
              </a:solidFill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BF2ECAB-6DCF-FB54-C029-45626BFC7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G‘S &amp; PRODUCTS (6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6CC66F-2FC7-B668-EB41-09B94EEAD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31686-8DE2-9B43-980D-29AE692D7900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6A36AB24-7AC2-0F79-388B-3E1C711652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52" y="2342782"/>
            <a:ext cx="2474203" cy="299141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B35C1C0-8063-CEFC-8260-20FC2013D7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9912" y="994023"/>
            <a:ext cx="7566757" cy="1743524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F06C1D8-ABB7-103F-962A-2D493FCB00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9912" y="2737547"/>
            <a:ext cx="7071397" cy="1498296"/>
          </a:xfrm>
          <a:prstGeom prst="rect">
            <a:avLst/>
          </a:prstGeom>
        </p:spPr>
      </p:pic>
      <p:grpSp>
        <p:nvGrpSpPr>
          <p:cNvPr id="12" name="Grupo 11">
            <a:extLst>
              <a:ext uri="{FF2B5EF4-FFF2-40B4-BE49-F238E27FC236}">
                <a16:creationId xmlns:a16="http://schemas.microsoft.com/office/drawing/2014/main" id="{A753A4AD-F20F-17CF-B52D-DD0ABF90E244}"/>
              </a:ext>
            </a:extLst>
          </p:cNvPr>
          <p:cNvGrpSpPr/>
          <p:nvPr/>
        </p:nvGrpSpPr>
        <p:grpSpPr>
          <a:xfrm>
            <a:off x="2569183" y="4432946"/>
            <a:ext cx="8670069" cy="1546421"/>
            <a:chOff x="2569183" y="4432946"/>
            <a:chExt cx="8670069" cy="1546421"/>
          </a:xfrm>
        </p:grpSpPr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D32FB736-EDE1-0D21-DD90-0C9127B3D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439912" y="4432946"/>
              <a:ext cx="7799340" cy="1546421"/>
            </a:xfrm>
            <a:prstGeom prst="rect">
              <a:avLst/>
            </a:prstGeom>
          </p:spPr>
        </p:pic>
        <p:sp>
          <p:nvSpPr>
            <p:cNvPr id="11" name="Explosión: 8 puntos 10">
              <a:extLst>
                <a:ext uri="{FF2B5EF4-FFF2-40B4-BE49-F238E27FC236}">
                  <a16:creationId xmlns:a16="http://schemas.microsoft.com/office/drawing/2014/main" id="{54B6AF43-ED0C-D351-D1A6-D0F5DAFCC62C}"/>
                </a:ext>
              </a:extLst>
            </p:cNvPr>
            <p:cNvSpPr/>
            <p:nvPr/>
          </p:nvSpPr>
          <p:spPr>
            <a:xfrm>
              <a:off x="2569183" y="4634135"/>
              <a:ext cx="1190017" cy="909062"/>
            </a:xfrm>
            <a:prstGeom prst="irregularSeal1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b="1" dirty="0"/>
                <a:t>N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0802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3142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4lQBfKS4PI0Lvir9wz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lLbSULXFGUmYZJGVmA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lLbSULXFGUmYZJGVmA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.6NL5j3fV69f9YBnW6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rGlz75AkRUsVLni2n6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9UXxXNfoG.wHg23o5b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fUb5Q3mRrtn96KGNvh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wVph1qiqCY16_j0c7y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N7s01aEPfBUFwFwHCO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nFfKvxvkoqMJmnWPE0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qdl33O.1VQ4DSluUja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EZ5iVaui_bI72HAdS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SR1cuYRICdkE9tirN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vo47Pm4F5avvip1KbN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pf_Fg95vgPIOUqwsmmKw"/>
</p:tagLst>
</file>

<file path=ppt/theme/theme1.xml><?xml version="1.0" encoding="utf-8"?>
<a:theme xmlns:a="http://schemas.openxmlformats.org/drawingml/2006/main" name="TE Theme">
  <a:themeElements>
    <a:clrScheme name=" 4">
      <a:dk1>
        <a:srgbClr val="666666"/>
      </a:dk1>
      <a:lt1>
        <a:srgbClr val="FFFFFF"/>
      </a:lt1>
      <a:dk2>
        <a:srgbClr val="2E4957"/>
      </a:dk2>
      <a:lt2>
        <a:srgbClr val="E98300"/>
      </a:lt2>
      <a:accent1>
        <a:srgbClr val="E98300"/>
      </a:accent1>
      <a:accent2>
        <a:srgbClr val="2E4957"/>
      </a:accent2>
      <a:accent3>
        <a:srgbClr val="167A87"/>
      </a:accent3>
      <a:accent4>
        <a:srgbClr val="8FB838"/>
      </a:accent4>
      <a:accent5>
        <a:srgbClr val="890979"/>
      </a:accent5>
      <a:accent6>
        <a:srgbClr val="BC1F00"/>
      </a:accent6>
      <a:hlink>
        <a:srgbClr val="0066A1"/>
      </a:hlink>
      <a:folHlink>
        <a:srgbClr val="0066A1"/>
      </a:folHlink>
    </a:clrScheme>
    <a:fontScheme name="T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069E630-BC35-454B-9B7D-470644B28F45}" vid="{94561D5B-CB3F-7949-9EA5-682EA34EA43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d4cfde6-658c-4c84-8f89-8abe8742da14">
      <UserInfo>
        <DisplayName>Chandler, Sheri</DisplayName>
        <AccountId>144</AccountId>
        <AccountType/>
      </UserInfo>
      <UserInfo>
        <DisplayName>Kamisli-Bayer, Oezlem</DisplayName>
        <AccountId>145</AccountId>
        <AccountType/>
      </UserInfo>
      <UserInfo>
        <DisplayName>Huebscher, Katrin</DisplayName>
        <AccountId>146</AccountId>
        <AccountType/>
      </UserInfo>
      <UserInfo>
        <DisplayName>Nichols, Brian</DisplayName>
        <AccountId>147</AccountId>
        <AccountType/>
      </UserInfo>
      <UserInfo>
        <DisplayName>Ahuja, Gian</DisplayName>
        <AccountId>148</AccountId>
        <AccountType/>
      </UserInfo>
      <UserInfo>
        <DisplayName>Kingsbury, Joel</DisplayName>
        <AccountId>149</AccountId>
        <AccountType/>
      </UserInfo>
      <UserInfo>
        <DisplayName>Hr, Bhagath</DisplayName>
        <AccountId>150</AccountId>
        <AccountType/>
      </UserInfo>
      <UserInfo>
        <DisplayName>Alsua, Julie</DisplayName>
        <AccountId>46</AccountId>
        <AccountType/>
      </UserInfo>
      <UserInfo>
        <DisplayName>Hartman, Mandy</DisplayName>
        <AccountId>31</AccountId>
        <AccountType/>
      </UserInfo>
      <UserInfo>
        <DisplayName>Myers, Keith</DisplayName>
        <AccountId>151</AccountId>
        <AccountType/>
      </UserInfo>
    </SharedWithUsers>
    <lcf76f155ced4ddcb4097134ff3c332f xmlns="a098d93e-a000-4331-ae94-62228addd274">
      <Terms xmlns="http://schemas.microsoft.com/office/infopath/2007/PartnerControls"/>
    </lcf76f155ced4ddcb4097134ff3c332f>
    <TaxCatchAll xmlns="dd4cfde6-658c-4c84-8f89-8abe8742da1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5BDDDC2B4B36B41992EFFB3AC68FBE9" ma:contentTypeVersion="14" ma:contentTypeDescription="Ein neues Dokument erstellen." ma:contentTypeScope="" ma:versionID="b596ab8ddedb39e9b89b9653cc1f349b">
  <xsd:schema xmlns:xsd="http://www.w3.org/2001/XMLSchema" xmlns:xs="http://www.w3.org/2001/XMLSchema" xmlns:p="http://schemas.microsoft.com/office/2006/metadata/properties" xmlns:ns2="a098d93e-a000-4331-ae94-62228addd274" xmlns:ns3="dd4cfde6-658c-4c84-8f89-8abe8742da14" targetNamespace="http://schemas.microsoft.com/office/2006/metadata/properties" ma:root="true" ma:fieldsID="eb91c9c85ab8b122674721de87b9a6dc" ns2:_="" ns3:_="">
    <xsd:import namespace="a098d93e-a000-4331-ae94-62228addd274"/>
    <xsd:import namespace="dd4cfde6-658c-4c84-8f89-8abe8742da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98d93e-a000-4331-ae94-62228addd2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0fe89e70-0365-4596-95bc-ed0240ed214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4cfde6-658c-4c84-8f89-8abe8742da1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91174509-a69f-4348-9858-8176567e1a65}" ma:internalName="TaxCatchAll" ma:showField="CatchAllData" ma:web="dd4cfde6-658c-4c84-8f89-8abe8742da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BA2EC8D-B904-47B6-9976-873ADB9D9002}">
  <ds:schemaRefs>
    <ds:schemaRef ds:uri="http://purl.org/dc/terms/"/>
    <ds:schemaRef ds:uri="http://schemas.microsoft.com/office/2006/documentManagement/types"/>
    <ds:schemaRef ds:uri="f2731fa9-b40b-48ed-b9ab-b9797a3ad1a4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7120cc4e-8069-49eb-a4c2-7f7eaaff3fc2"/>
    <ds:schemaRef ds:uri="http://schemas.openxmlformats.org/package/2006/metadata/core-properties"/>
    <ds:schemaRef ds:uri="http://www.w3.org/XML/1998/namespace"/>
    <ds:schemaRef ds:uri="dd4cfde6-658c-4c84-8f89-8abe8742da14"/>
    <ds:schemaRef ds:uri="a098d93e-a000-4331-ae94-62228addd274"/>
  </ds:schemaRefs>
</ds:datastoreItem>
</file>

<file path=customXml/itemProps2.xml><?xml version="1.0" encoding="utf-8"?>
<ds:datastoreItem xmlns:ds="http://schemas.openxmlformats.org/officeDocument/2006/customXml" ds:itemID="{D395D0FF-EF2B-4E9B-8437-3E3D3D5BD8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95554C-5B16-400E-8ECC-DA31E608C5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98d93e-a000-4331-ae94-62228addd274"/>
    <ds:schemaRef ds:uri="dd4cfde6-658c-4c84-8f89-8abe8742da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 Theme</Template>
  <TotalTime>3397</TotalTime>
  <Words>138</Words>
  <Application>Microsoft Office PowerPoint</Application>
  <PresentationFormat>Panorámica</PresentationFormat>
  <Paragraphs>57</Paragraphs>
  <Slides>8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2" baseType="lpstr">
      <vt:lpstr>Arial</vt:lpstr>
      <vt:lpstr>Calibri</vt:lpstr>
      <vt:lpstr>TE Theme</vt:lpstr>
      <vt:lpstr>think-cell Slide</vt:lpstr>
      <vt:lpstr>PRODUCT PORTFOLIO  DISTRIBUTION</vt:lpstr>
      <vt:lpstr>AFG‘S &amp; PRODUCTS (1)</vt:lpstr>
      <vt:lpstr>AFG‘S &amp; PRODUCTS (2)</vt:lpstr>
      <vt:lpstr>AFG‘S &amp; PRODUCTS (3)</vt:lpstr>
      <vt:lpstr>AFG‘S &amp; PRODUCTS (4)</vt:lpstr>
      <vt:lpstr>AFG‘S &amp; PRODUCTS (5)</vt:lpstr>
      <vt:lpstr>AFG‘S &amp; PRODUCTS (6)</vt:lpstr>
      <vt:lpstr>Presentación de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 ppt template 16x9 2024</dc:title>
  <dc:subject/>
  <dc:creator>TE Connectivity</dc:creator>
  <cp:keywords>2024 - Version 01</cp:keywords>
  <dc:description/>
  <cp:lastModifiedBy>Banon, Armando</cp:lastModifiedBy>
  <cp:revision>22</cp:revision>
  <cp:lastPrinted>2021-03-18T16:50:49Z</cp:lastPrinted>
  <dcterms:created xsi:type="dcterms:W3CDTF">2023-05-17T17:42:38Z</dcterms:created>
  <dcterms:modified xsi:type="dcterms:W3CDTF">2024-04-10T17:23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BDDDC2B4B36B41992EFFB3AC68FBE9</vt:lpwstr>
  </property>
</Properties>
</file>